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diagrams/data1.xml" ContentType="application/vnd.openxmlformats-officedocument.drawingml.diagramData+xml"/>
  <Override PartName="/ppt/diagrams/data3.xml" ContentType="application/vnd.openxmlformats-officedocument.drawingml.diagramData+xml"/>
  <Override PartName="/ppt/diagrams/data4.xml" ContentType="application/vnd.openxmlformats-officedocument.drawingml.diagramData+xml"/>
  <Override PartName="/ppt/diagrams/data5.xml" ContentType="application/vnd.openxmlformats-officedocument.drawingml.diagramData+xml"/>
  <Override PartName="/ppt/diagrams/data6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6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4.xml" ContentType="application/vnd.openxmlformats-officedocument.presentationml.slide+xml"/>
  <Override PartName="/ppt/slides/slide15.xml" ContentType="application/vnd.openxmlformats-officedocument.presentationml.slide+xml"/>
  <Override PartName="/ppt/slides/slide17.xml" ContentType="application/vnd.openxmlformats-officedocument.presentationml.slide+xml"/>
  <Override PartName="/ppt/slides/slide6.xml" ContentType="application/vnd.openxmlformats-officedocument.presentationml.slide+xml"/>
  <Override PartName="/ppt/slides/slide14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7.xml" ContentType="application/vnd.openxmlformats-officedocument.presentationml.slide+xml"/>
  <Override PartName="/ppt/slides/slide10.xml" ContentType="application/vnd.openxmlformats-officedocument.presentationml.slide+xml"/>
  <Override PartName="/ppt/slides/slide13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6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layout2.xml" ContentType="application/vnd.openxmlformats-officedocument.drawingml.diagramLayout+xml"/>
  <Override PartName="/ppt/notesMasters/notesMaster1.xml" ContentType="application/vnd.openxmlformats-officedocument.presentationml.notesMaster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layout3.xml" ContentType="application/vnd.openxmlformats-officedocument.drawingml.diagramLayout+xml"/>
  <Override PartName="/ppt/diagrams/colors5.xml" ContentType="application/vnd.openxmlformats-officedocument.drawingml.diagramColors+xml"/>
  <Override PartName="/ppt/diagrams/layout4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heme/theme1.xml" ContentType="application/vnd.openxmlformats-officedocument.theme+xml"/>
  <Override PartName="/ppt/diagrams/layout6.xml" ContentType="application/vnd.openxmlformats-officedocument.drawingml.diagramLayout+xml"/>
  <Override PartName="/ppt/diagrams/drawing5.xml" ContentType="application/vnd.ms-office.drawingml.diagramDrawing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drawing3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customXml/itemProps3.xml" ContentType="application/vnd.openxmlformats-officedocument.customXml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tags/tag3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5"/>
  </p:notesMasterIdLst>
  <p:sldIdLst>
    <p:sldId id="256" r:id="rId5"/>
    <p:sldId id="3983" r:id="rId6"/>
    <p:sldId id="4002" r:id="rId7"/>
    <p:sldId id="4011" r:id="rId8"/>
    <p:sldId id="4018" r:id="rId9"/>
    <p:sldId id="4039" r:id="rId10"/>
    <p:sldId id="4036" r:id="rId11"/>
    <p:sldId id="4043" r:id="rId12"/>
    <p:sldId id="4040" r:id="rId13"/>
    <p:sldId id="4016" r:id="rId14"/>
    <p:sldId id="4042" r:id="rId15"/>
    <p:sldId id="4038" r:id="rId16"/>
    <p:sldId id="4041" r:id="rId17"/>
    <p:sldId id="4026" r:id="rId18"/>
    <p:sldId id="5244" r:id="rId19"/>
    <p:sldId id="4027" r:id="rId20"/>
    <p:sldId id="5246" r:id="rId21"/>
    <p:sldId id="4034" r:id="rId22"/>
    <p:sldId id="5243" r:id="rId23"/>
    <p:sldId id="5245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7313C4-B482-4AC5-B294-7A26102AC69E}" v="8" dt="2020-11-10T16:44:41.3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ustomXml" Target="../customXml/item4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slide" Target="../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EF94D7-990A-476A-A05A-2DEC7C96EBF1}" type="doc">
      <dgm:prSet loTypeId="urn:microsoft.com/office/officeart/2005/8/layout/cycle3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GB"/>
        </a:p>
      </dgm:t>
    </dgm:pt>
    <dgm:pt modelId="{F5FE4A27-99B4-4B1B-91B1-3A807D2B8A77}">
      <dgm:prSet phldrT="[Text]" custT="1"/>
      <dgm:spPr/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u="none" kern="1200" dirty="0">
              <a:solidFill>
                <a:schemeClr val="tx1"/>
              </a:solidFill>
              <a:latin typeface="Arial"/>
              <a:ea typeface="+mn-ea"/>
              <a:cs typeface="+mn-cs"/>
              <a:hlinkClick xmlns:r="http://schemas.openxmlformats.org/officeDocument/2006/relationships" r:id="rId1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Prepare</a:t>
          </a:r>
          <a:r>
            <a:rPr lang="en-GB" sz="1600" b="1" kern="1200" dirty="0">
              <a:solidFill>
                <a:schemeClr val="tx1"/>
              </a:solidFill>
              <a:latin typeface="Arial"/>
              <a:ea typeface="+mn-ea"/>
              <a:cs typeface="+mn-cs"/>
              <a:hlinkClick xmlns:r="http://schemas.openxmlformats.org/officeDocument/2006/relationships" r:id="rId1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 </a:t>
          </a:r>
          <a:endParaRPr lang="en-GB" sz="1600" b="1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</dgm:t>
    </dgm:pt>
    <dgm:pt modelId="{AAAC7CE0-AA59-4C25-9837-E5AAC4425B05}" type="parTrans" cxnId="{C1C9E408-ABB1-4818-995E-72439882118D}">
      <dgm:prSet/>
      <dgm:spPr/>
      <dgm:t>
        <a:bodyPr/>
        <a:lstStyle/>
        <a:p>
          <a:endParaRPr lang="en-GB"/>
        </a:p>
      </dgm:t>
    </dgm:pt>
    <dgm:pt modelId="{C721DAE9-5546-434F-8344-5FBA9B43E38C}" type="sibTrans" cxnId="{C1C9E408-ABB1-4818-995E-72439882118D}">
      <dgm:prSet/>
      <dgm:spPr>
        <a:solidFill>
          <a:schemeClr val="bg2"/>
        </a:solidFill>
        <a:ln w="127000" cap="flat">
          <a:solidFill>
            <a:schemeClr val="bg2"/>
          </a:solidFill>
          <a:miter lim="800000"/>
        </a:ln>
      </dgm:spPr>
      <dgm:t>
        <a:bodyPr/>
        <a:lstStyle/>
        <a:p>
          <a:endParaRPr lang="en-GB"/>
        </a:p>
      </dgm:t>
    </dgm:pt>
    <dgm:pt modelId="{C162283B-E803-49E4-8D3D-E56D429BD646}">
      <dgm:prSet phldrT="[Text]" custT="1"/>
      <dgm:spPr/>
      <dgm:t>
        <a:bodyPr/>
        <a:lstStyle/>
        <a:p>
          <a:pPr algn="ctr"/>
          <a:r>
            <a:rPr lang="en-GB" sz="1100" b="1" dirty="0">
              <a:solidFill>
                <a:schemeClr val="tx1"/>
              </a:solidFill>
              <a:hlinkClick xmlns:r="http://schemas.openxmlformats.org/officeDocument/2006/relationships" r:id="rId2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Diagnose &amp; Design</a:t>
          </a:r>
          <a:endParaRPr lang="en-GB" sz="1100" b="1" dirty="0">
            <a:solidFill>
              <a:schemeClr val="tx1"/>
            </a:solidFill>
          </a:endParaRPr>
        </a:p>
        <a:p>
          <a:pPr algn="ctr"/>
          <a:r>
            <a:rPr lang="en-GB" sz="900" dirty="0"/>
            <a:t>Define Value &amp; Design Future State </a:t>
          </a:r>
        </a:p>
      </dgm:t>
    </dgm:pt>
    <dgm:pt modelId="{D7BCE339-3282-492C-89F2-7B2276E0ECA8}" type="parTrans" cxnId="{8147326D-A90F-45FB-8690-293AB308B9A3}">
      <dgm:prSet/>
      <dgm:spPr/>
      <dgm:t>
        <a:bodyPr/>
        <a:lstStyle/>
        <a:p>
          <a:endParaRPr lang="en-GB"/>
        </a:p>
      </dgm:t>
    </dgm:pt>
    <dgm:pt modelId="{8DF5C5BC-48B9-4995-8CC4-28E87B71954F}" type="sibTrans" cxnId="{8147326D-A90F-45FB-8690-293AB308B9A3}">
      <dgm:prSet/>
      <dgm:spPr/>
      <dgm:t>
        <a:bodyPr/>
        <a:lstStyle/>
        <a:p>
          <a:endParaRPr lang="en-GB"/>
        </a:p>
      </dgm:t>
    </dgm:pt>
    <dgm:pt modelId="{E6C86340-97AB-44B4-8B47-6F1CF6D8DB04}">
      <dgm:prSet phldrT="[Text]" custT="1"/>
      <dgm:spPr/>
      <dgm:t>
        <a:bodyPr spcFirstLastPara="0" vert="horz" wrap="square" lIns="60960" tIns="60960" rIns="60960" bIns="60960" numCol="1" spcCol="1270" anchor="ctr" anchorCtr="0"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tx1"/>
              </a:solidFill>
              <a:latin typeface="Arial"/>
              <a:ea typeface="+mn-ea"/>
              <a:cs typeface="+mn-cs"/>
              <a:hlinkClick xmlns:r="http://schemas.openxmlformats.org/officeDocument/2006/relationships"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mplement</a:t>
          </a:r>
          <a:endParaRPr lang="en-GB" sz="1600" b="1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latin typeface="Arial"/>
              <a:ea typeface="+mn-ea"/>
              <a:cs typeface="+mn-cs"/>
            </a:rPr>
            <a:t>Create Flow &amp; Pull</a:t>
          </a:r>
        </a:p>
      </dgm:t>
    </dgm:pt>
    <dgm:pt modelId="{F9FD1987-3C80-4632-9CF8-3EC415510981}" type="parTrans" cxnId="{B245F0C7-30E3-4B6F-9B8A-9E93F5668659}">
      <dgm:prSet/>
      <dgm:spPr/>
      <dgm:t>
        <a:bodyPr/>
        <a:lstStyle/>
        <a:p>
          <a:endParaRPr lang="en-GB"/>
        </a:p>
      </dgm:t>
    </dgm:pt>
    <dgm:pt modelId="{316D4E57-EB99-45BF-94E3-46153053C337}" type="sibTrans" cxnId="{B245F0C7-30E3-4B6F-9B8A-9E93F5668659}">
      <dgm:prSet/>
      <dgm:spPr/>
      <dgm:t>
        <a:bodyPr/>
        <a:lstStyle/>
        <a:p>
          <a:endParaRPr lang="en-GB"/>
        </a:p>
      </dgm:t>
    </dgm:pt>
    <dgm:pt modelId="{79DA46B6-6E7B-45CB-ADE5-50C91B60F822}">
      <dgm:prSet phldrT="[Text]" custT="1"/>
      <dgm:spPr/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tx1"/>
              </a:solidFill>
              <a:latin typeface="Arial"/>
              <a:ea typeface="+mn-ea"/>
              <a:cs typeface="+mn-cs"/>
              <a:hlinkClick xmlns:r="http://schemas.openxmlformats.org/officeDocument/2006/relationships"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Sustain</a:t>
          </a:r>
          <a:endParaRPr lang="en-GB" sz="1600" b="1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latin typeface="Arial"/>
              <a:ea typeface="+mn-ea"/>
              <a:cs typeface="+mn-cs"/>
            </a:rPr>
            <a:t>Pursue Perfection</a:t>
          </a:r>
          <a:endParaRPr lang="en-GB" sz="1800" kern="1200" dirty="0">
            <a:latin typeface="Arial"/>
            <a:ea typeface="+mn-ea"/>
            <a:cs typeface="+mn-cs"/>
          </a:endParaRPr>
        </a:p>
      </dgm:t>
    </dgm:pt>
    <dgm:pt modelId="{D62C5A2B-C0A2-44FA-8176-0F92268E0E2E}" type="parTrans" cxnId="{5FD2302B-3989-4EC8-A89A-F9B7D059A6A4}">
      <dgm:prSet/>
      <dgm:spPr/>
      <dgm:t>
        <a:bodyPr/>
        <a:lstStyle/>
        <a:p>
          <a:endParaRPr lang="en-GB"/>
        </a:p>
      </dgm:t>
    </dgm:pt>
    <dgm:pt modelId="{7A3319D1-DD18-4D47-93B5-BF0897F730CA}" type="sibTrans" cxnId="{5FD2302B-3989-4EC8-A89A-F9B7D059A6A4}">
      <dgm:prSet/>
      <dgm:spPr/>
      <dgm:t>
        <a:bodyPr/>
        <a:lstStyle/>
        <a:p>
          <a:endParaRPr lang="en-GB"/>
        </a:p>
      </dgm:t>
    </dgm:pt>
    <dgm:pt modelId="{2B2326F5-B79B-467B-8D0C-7F3CEAEAC50B}">
      <dgm:prSet phldrT="[Text]" custT="1"/>
      <dgm:spPr/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latin typeface="Arial"/>
              <a:ea typeface="+mn-ea"/>
              <a:cs typeface="+mn-cs"/>
            </a:rPr>
            <a:t>Strategy Alignment </a:t>
          </a:r>
        </a:p>
      </dgm:t>
    </dgm:pt>
    <dgm:pt modelId="{F31679BE-4967-44FC-8A24-21C48B9A7857}" type="parTrans" cxnId="{AB512B9E-CCAF-4F1C-ABBA-DC8138EFA035}">
      <dgm:prSet/>
      <dgm:spPr/>
      <dgm:t>
        <a:bodyPr/>
        <a:lstStyle/>
        <a:p>
          <a:endParaRPr lang="en-GB"/>
        </a:p>
      </dgm:t>
    </dgm:pt>
    <dgm:pt modelId="{F8FF2C64-6A5D-4111-8CE9-8080659E28D7}" type="sibTrans" cxnId="{AB512B9E-CCAF-4F1C-ABBA-DC8138EFA035}">
      <dgm:prSet/>
      <dgm:spPr/>
      <dgm:t>
        <a:bodyPr/>
        <a:lstStyle/>
        <a:p>
          <a:endParaRPr lang="en-GB"/>
        </a:p>
      </dgm:t>
    </dgm:pt>
    <dgm:pt modelId="{6E2478BB-E1FC-4B8C-8A0D-B0829E626B1D}" type="pres">
      <dgm:prSet presAssocID="{A3EF94D7-990A-476A-A05A-2DEC7C96EBF1}" presName="Name0" presStyleCnt="0">
        <dgm:presLayoutVars>
          <dgm:dir/>
          <dgm:resizeHandles val="exact"/>
        </dgm:presLayoutVars>
      </dgm:prSet>
      <dgm:spPr/>
    </dgm:pt>
    <dgm:pt modelId="{6E9C91DD-E79A-4005-9E83-3EAB3ECCAAD6}" type="pres">
      <dgm:prSet presAssocID="{A3EF94D7-990A-476A-A05A-2DEC7C96EBF1}" presName="cycle" presStyleCnt="0"/>
      <dgm:spPr/>
    </dgm:pt>
    <dgm:pt modelId="{9267CEE5-C8DF-40AB-8AC1-17BE85DB47F1}" type="pres">
      <dgm:prSet presAssocID="{F5FE4A27-99B4-4B1B-91B1-3A807D2B8A77}" presName="nodeFirstNode" presStyleLbl="node1" presStyleIdx="0" presStyleCnt="4" custScaleX="93058" custScaleY="58406" custRadScaleRad="156003" custRadScaleInc="83294">
        <dgm:presLayoutVars>
          <dgm:bulletEnabled val="1"/>
        </dgm:presLayoutVars>
      </dgm:prSet>
      <dgm:spPr>
        <a:xfrm>
          <a:off x="2992274" y="635833"/>
          <a:ext cx="1116263" cy="484098"/>
        </a:xfrm>
        <a:prstGeom prst="roundRect">
          <a:avLst/>
        </a:prstGeom>
      </dgm:spPr>
    </dgm:pt>
    <dgm:pt modelId="{9FD63B02-DE90-425C-B4AE-B4DC82EC03B3}" type="pres">
      <dgm:prSet presAssocID="{C721DAE9-5546-434F-8344-5FBA9B43E38C}" presName="sibTransFirstNode" presStyleLbl="bgShp" presStyleIdx="0" presStyleCnt="1" custAng="2241229" custLinFactNeighborX="-40376" custLinFactNeighborY="-8207"/>
      <dgm:spPr/>
    </dgm:pt>
    <dgm:pt modelId="{DC37BA66-E214-4432-A333-034D760190D1}" type="pres">
      <dgm:prSet presAssocID="{C162283B-E803-49E4-8D3D-E56D429BD646}" presName="nodeFollowingNodes" presStyleLbl="node1" presStyleIdx="1" presStyleCnt="4" custScaleX="96557" custScaleY="57449" custRadScaleRad="161365" custRadScaleInc="48035">
        <dgm:presLayoutVars>
          <dgm:bulletEnabled val="1"/>
        </dgm:presLayoutVars>
      </dgm:prSet>
      <dgm:spPr/>
    </dgm:pt>
    <dgm:pt modelId="{E7B5F725-DE40-4E98-9364-C5E8F362E93D}" type="pres">
      <dgm:prSet presAssocID="{E6C86340-97AB-44B4-8B47-6F1CF6D8DB04}" presName="nodeFollowingNodes" presStyleLbl="node1" presStyleIdx="2" presStyleCnt="4" custScaleX="81391" custScaleY="56708" custRadScaleRad="126799" custRadScaleInc="60764">
        <dgm:presLayoutVars>
          <dgm:bulletEnabled val="1"/>
        </dgm:presLayoutVars>
      </dgm:prSet>
      <dgm:spPr>
        <a:xfrm>
          <a:off x="961936" y="2068497"/>
          <a:ext cx="1173122" cy="470024"/>
        </a:xfrm>
        <a:prstGeom prst="roundRect">
          <a:avLst/>
        </a:prstGeom>
      </dgm:spPr>
    </dgm:pt>
    <dgm:pt modelId="{99B3B84C-A434-40CF-B321-DE6AA283672E}" type="pres">
      <dgm:prSet presAssocID="{79DA46B6-6E7B-45CB-ADE5-50C91B60F822}" presName="nodeFollowingNodes" presStyleLbl="node1" presStyleIdx="3" presStyleCnt="4" custScaleX="81433" custScaleY="56049" custRadScaleRad="114997" custRadScaleInc="59602">
        <dgm:presLayoutVars>
          <dgm:bulletEnabled val="1"/>
        </dgm:presLayoutVars>
      </dgm:prSet>
      <dgm:spPr>
        <a:xfrm>
          <a:off x="797412" y="1111497"/>
          <a:ext cx="1936667" cy="968333"/>
        </a:xfrm>
        <a:prstGeom prst="roundRect">
          <a:avLst/>
        </a:prstGeom>
      </dgm:spPr>
    </dgm:pt>
  </dgm:ptLst>
  <dgm:cxnLst>
    <dgm:cxn modelId="{851B4F01-F97F-409D-A04A-843675F375AF}" type="presOf" srcId="{2B2326F5-B79B-467B-8D0C-7F3CEAEAC50B}" destId="{9267CEE5-C8DF-40AB-8AC1-17BE85DB47F1}" srcOrd="0" destOrd="1" presId="urn:microsoft.com/office/officeart/2005/8/layout/cycle3"/>
    <dgm:cxn modelId="{46299603-CF2F-4AC4-8C15-DA38C8627612}" type="presOf" srcId="{79DA46B6-6E7B-45CB-ADE5-50C91B60F822}" destId="{99B3B84C-A434-40CF-B321-DE6AA283672E}" srcOrd="0" destOrd="0" presId="urn:microsoft.com/office/officeart/2005/8/layout/cycle3"/>
    <dgm:cxn modelId="{C1C9E408-ABB1-4818-995E-72439882118D}" srcId="{A3EF94D7-990A-476A-A05A-2DEC7C96EBF1}" destId="{F5FE4A27-99B4-4B1B-91B1-3A807D2B8A77}" srcOrd="0" destOrd="0" parTransId="{AAAC7CE0-AA59-4C25-9837-E5AAC4425B05}" sibTransId="{C721DAE9-5546-434F-8344-5FBA9B43E38C}"/>
    <dgm:cxn modelId="{5FD2302B-3989-4EC8-A89A-F9B7D059A6A4}" srcId="{A3EF94D7-990A-476A-A05A-2DEC7C96EBF1}" destId="{79DA46B6-6E7B-45CB-ADE5-50C91B60F822}" srcOrd="3" destOrd="0" parTransId="{D62C5A2B-C0A2-44FA-8176-0F92268E0E2E}" sibTransId="{7A3319D1-DD18-4D47-93B5-BF0897F730CA}"/>
    <dgm:cxn modelId="{25B6D635-10F2-4FA7-B6B0-5A01EB147B93}" type="presOf" srcId="{E6C86340-97AB-44B4-8B47-6F1CF6D8DB04}" destId="{E7B5F725-DE40-4E98-9364-C5E8F362E93D}" srcOrd="0" destOrd="0" presId="urn:microsoft.com/office/officeart/2005/8/layout/cycle3"/>
    <dgm:cxn modelId="{8147326D-A90F-45FB-8690-293AB308B9A3}" srcId="{A3EF94D7-990A-476A-A05A-2DEC7C96EBF1}" destId="{C162283B-E803-49E4-8D3D-E56D429BD646}" srcOrd="1" destOrd="0" parTransId="{D7BCE339-3282-492C-89F2-7B2276E0ECA8}" sibTransId="{8DF5C5BC-48B9-4995-8CC4-28E87B71954F}"/>
    <dgm:cxn modelId="{9B9B0274-841F-410B-BF96-8437A65041B2}" type="presOf" srcId="{F5FE4A27-99B4-4B1B-91B1-3A807D2B8A77}" destId="{9267CEE5-C8DF-40AB-8AC1-17BE85DB47F1}" srcOrd="0" destOrd="0" presId="urn:microsoft.com/office/officeart/2005/8/layout/cycle3"/>
    <dgm:cxn modelId="{53FB6D8D-218C-449D-8952-4126F175BF45}" type="presOf" srcId="{C721DAE9-5546-434F-8344-5FBA9B43E38C}" destId="{9FD63B02-DE90-425C-B4AE-B4DC82EC03B3}" srcOrd="0" destOrd="0" presId="urn:microsoft.com/office/officeart/2005/8/layout/cycle3"/>
    <dgm:cxn modelId="{AB512B9E-CCAF-4F1C-ABBA-DC8138EFA035}" srcId="{F5FE4A27-99B4-4B1B-91B1-3A807D2B8A77}" destId="{2B2326F5-B79B-467B-8D0C-7F3CEAEAC50B}" srcOrd="0" destOrd="0" parTransId="{F31679BE-4967-44FC-8A24-21C48B9A7857}" sibTransId="{F8FF2C64-6A5D-4111-8CE9-8080659E28D7}"/>
    <dgm:cxn modelId="{B245F0C7-30E3-4B6F-9B8A-9E93F5668659}" srcId="{A3EF94D7-990A-476A-A05A-2DEC7C96EBF1}" destId="{E6C86340-97AB-44B4-8B47-6F1CF6D8DB04}" srcOrd="2" destOrd="0" parTransId="{F9FD1987-3C80-4632-9CF8-3EC415510981}" sibTransId="{316D4E57-EB99-45BF-94E3-46153053C337}"/>
    <dgm:cxn modelId="{DD0444D0-2214-4776-B4EC-D196EEF1C2CD}" type="presOf" srcId="{C162283B-E803-49E4-8D3D-E56D429BD646}" destId="{DC37BA66-E214-4432-A333-034D760190D1}" srcOrd="0" destOrd="0" presId="urn:microsoft.com/office/officeart/2005/8/layout/cycle3"/>
    <dgm:cxn modelId="{780E54FF-6F33-47D1-B3A7-E13E480FE0F9}" type="presOf" srcId="{A3EF94D7-990A-476A-A05A-2DEC7C96EBF1}" destId="{6E2478BB-E1FC-4B8C-8A0D-B0829E626B1D}" srcOrd="0" destOrd="0" presId="urn:microsoft.com/office/officeart/2005/8/layout/cycle3"/>
    <dgm:cxn modelId="{6946C5A8-CB21-4A42-B54B-AE7AF9BBBC7A}" type="presParOf" srcId="{6E2478BB-E1FC-4B8C-8A0D-B0829E626B1D}" destId="{6E9C91DD-E79A-4005-9E83-3EAB3ECCAAD6}" srcOrd="0" destOrd="0" presId="urn:microsoft.com/office/officeart/2005/8/layout/cycle3"/>
    <dgm:cxn modelId="{FD6CF66B-71DF-4ABE-901A-22F97C2BC179}" type="presParOf" srcId="{6E9C91DD-E79A-4005-9E83-3EAB3ECCAAD6}" destId="{9267CEE5-C8DF-40AB-8AC1-17BE85DB47F1}" srcOrd="0" destOrd="0" presId="urn:microsoft.com/office/officeart/2005/8/layout/cycle3"/>
    <dgm:cxn modelId="{2892D9D3-2E9A-4664-8B2C-8080C0BC200C}" type="presParOf" srcId="{6E9C91DD-E79A-4005-9E83-3EAB3ECCAAD6}" destId="{9FD63B02-DE90-425C-B4AE-B4DC82EC03B3}" srcOrd="1" destOrd="0" presId="urn:microsoft.com/office/officeart/2005/8/layout/cycle3"/>
    <dgm:cxn modelId="{8AB37D65-D916-4335-ABDC-0E9FE5EA2563}" type="presParOf" srcId="{6E9C91DD-E79A-4005-9E83-3EAB3ECCAAD6}" destId="{DC37BA66-E214-4432-A333-034D760190D1}" srcOrd="2" destOrd="0" presId="urn:microsoft.com/office/officeart/2005/8/layout/cycle3"/>
    <dgm:cxn modelId="{9FC60EF9-F30E-4390-9EA9-137053F73594}" type="presParOf" srcId="{6E9C91DD-E79A-4005-9E83-3EAB3ECCAAD6}" destId="{E7B5F725-DE40-4E98-9364-C5E8F362E93D}" srcOrd="3" destOrd="0" presId="urn:microsoft.com/office/officeart/2005/8/layout/cycle3"/>
    <dgm:cxn modelId="{4B8566AF-C1A4-41A6-A100-0A256FC92224}" type="presParOf" srcId="{6E9C91DD-E79A-4005-9E83-3EAB3ECCAAD6}" destId="{99B3B84C-A434-40CF-B321-DE6AA283672E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D63B02-DE90-425C-B4AE-B4DC82EC03B3}">
      <dsp:nvSpPr>
        <dsp:cNvPr id="0" name=""/>
        <dsp:cNvSpPr/>
      </dsp:nvSpPr>
      <dsp:spPr>
        <a:xfrm rot="2241229">
          <a:off x="1108012" y="7266"/>
          <a:ext cx="2467612" cy="2467612"/>
        </a:xfrm>
        <a:prstGeom prst="circularArrow">
          <a:avLst>
            <a:gd name="adj1" fmla="val 4668"/>
            <a:gd name="adj2" fmla="val 272909"/>
            <a:gd name="adj3" fmla="val 13376436"/>
            <a:gd name="adj4" fmla="val 17670986"/>
            <a:gd name="adj5" fmla="val 4847"/>
          </a:avLst>
        </a:prstGeom>
        <a:solidFill>
          <a:schemeClr val="bg2"/>
        </a:solidFill>
        <a:ln w="127000" cap="flat">
          <a:solidFill>
            <a:schemeClr val="bg2"/>
          </a:solidFill>
          <a:miter lim="800000"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67CEE5-C8DF-40AB-8AC1-17BE85DB47F1}">
      <dsp:nvSpPr>
        <dsp:cNvPr id="0" name=""/>
        <dsp:cNvSpPr/>
      </dsp:nvSpPr>
      <dsp:spPr>
        <a:xfrm>
          <a:off x="2636897" y="354840"/>
          <a:ext cx="1402488" cy="44012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u="none" kern="1200" dirty="0">
              <a:solidFill>
                <a:schemeClr val="tx1"/>
              </a:solidFill>
              <a:latin typeface="Arial"/>
              <a:ea typeface="+mn-ea"/>
              <a:cs typeface="+mn-cs"/>
              <a:hlinkClick xmlns:r="http://schemas.openxmlformats.org/officeDocument/2006/relationships" r:id="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Prepare</a:t>
          </a:r>
          <a:r>
            <a:rPr lang="en-GB" sz="1600" b="1" kern="1200" dirty="0">
              <a:solidFill>
                <a:schemeClr val="tx1"/>
              </a:solidFill>
              <a:latin typeface="Arial"/>
              <a:ea typeface="+mn-ea"/>
              <a:cs typeface="+mn-cs"/>
              <a:hlinkClick xmlns:r="http://schemas.openxmlformats.org/officeDocument/2006/relationships" r:id="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 </a:t>
          </a:r>
          <a:endParaRPr lang="en-GB" sz="1600" b="1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latin typeface="Arial"/>
              <a:ea typeface="+mn-ea"/>
              <a:cs typeface="+mn-cs"/>
            </a:rPr>
            <a:t>Strategy Alignment </a:t>
          </a:r>
        </a:p>
      </dsp:txBody>
      <dsp:txXfrm>
        <a:off x="2658382" y="376325"/>
        <a:ext cx="1359518" cy="397152"/>
      </dsp:txXfrm>
    </dsp:sp>
    <dsp:sp modelId="{DC37BA66-E214-4432-A333-034D760190D1}">
      <dsp:nvSpPr>
        <dsp:cNvPr id="0" name=""/>
        <dsp:cNvSpPr/>
      </dsp:nvSpPr>
      <dsp:spPr>
        <a:xfrm>
          <a:off x="2590905" y="1861732"/>
          <a:ext cx="1455222" cy="43291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 dirty="0">
              <a:solidFill>
                <a:schemeClr val="tx1"/>
              </a:solidFill>
              <a:hlinkClick xmlns:r="http://schemas.openxmlformats.org/officeDocument/2006/relationships" r:id="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Diagnose &amp; Design</a:t>
          </a:r>
          <a:endParaRPr lang="en-GB" sz="1100" b="1" kern="1200" dirty="0">
            <a:solidFill>
              <a:schemeClr val="tx1"/>
            </a:solidFill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Define Value &amp; Design Future State </a:t>
          </a:r>
        </a:p>
      </dsp:txBody>
      <dsp:txXfrm>
        <a:off x="2612038" y="1882865"/>
        <a:ext cx="1412956" cy="390644"/>
      </dsp:txXfrm>
    </dsp:sp>
    <dsp:sp modelId="{E7B5F725-DE40-4E98-9364-C5E8F362E93D}">
      <dsp:nvSpPr>
        <dsp:cNvPr id="0" name=""/>
        <dsp:cNvSpPr/>
      </dsp:nvSpPr>
      <dsp:spPr>
        <a:xfrm>
          <a:off x="751191" y="1864516"/>
          <a:ext cx="1226653" cy="427326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tx1"/>
              </a:solidFill>
              <a:latin typeface="Arial"/>
              <a:ea typeface="+mn-ea"/>
              <a:cs typeface="+mn-cs"/>
              <a:hlinkClick xmlns:r="http://schemas.openxmlformats.org/officeDocument/2006/relationships"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mplement</a:t>
          </a:r>
          <a:endParaRPr lang="en-GB" sz="1600" b="1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latin typeface="Arial"/>
              <a:ea typeface="+mn-ea"/>
              <a:cs typeface="+mn-cs"/>
            </a:rPr>
            <a:t>Create Flow &amp; Pull</a:t>
          </a:r>
        </a:p>
      </dsp:txBody>
      <dsp:txXfrm>
        <a:off x="772051" y="1885376"/>
        <a:ext cx="1184933" cy="385606"/>
      </dsp:txXfrm>
    </dsp:sp>
    <dsp:sp modelId="{99B3B84C-A434-40CF-B321-DE6AA283672E}">
      <dsp:nvSpPr>
        <dsp:cNvPr id="0" name=""/>
        <dsp:cNvSpPr/>
      </dsp:nvSpPr>
      <dsp:spPr>
        <a:xfrm>
          <a:off x="781544" y="361662"/>
          <a:ext cx="1227286" cy="422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tx1"/>
              </a:solidFill>
              <a:latin typeface="Arial"/>
              <a:ea typeface="+mn-ea"/>
              <a:cs typeface="+mn-cs"/>
              <a:hlinkClick xmlns:r="http://schemas.openxmlformats.org/officeDocument/2006/relationships"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Sustain</a:t>
          </a:r>
          <a:endParaRPr lang="en-GB" sz="1600" b="1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latin typeface="Arial"/>
              <a:ea typeface="+mn-ea"/>
              <a:cs typeface="+mn-cs"/>
            </a:rPr>
            <a:t>Pursue Perfection</a:t>
          </a:r>
          <a:endParaRPr lang="en-GB" sz="1800" kern="1200" dirty="0">
            <a:latin typeface="Arial"/>
            <a:ea typeface="+mn-ea"/>
            <a:cs typeface="+mn-cs"/>
          </a:endParaRPr>
        </a:p>
      </dsp:txBody>
      <dsp:txXfrm>
        <a:off x="802162" y="382280"/>
        <a:ext cx="1186050" cy="3811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AAE2603-2266-4059-975A-0ACEC064FCB3}" type="datetimeFigureOut">
              <a:rPr lang="en-GB" smtClean="0"/>
              <a:t>10/11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CF39F39-4864-4B19-80F3-487D85C47A0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6918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25E6AD-6B24-48F3-BB85-E105A647327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139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PM is a Fundamental tool and is deployed site wide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25E6AD-6B24-48F3-BB85-E105A647327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9569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9F39-4864-4B19-80F3-487D85C47A0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7621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9F39-4864-4B19-80F3-487D85C47A0D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7777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Pri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" descr="A person sitting at a table&#10;&#10;Description automatically generated">
            <a:extLst>
              <a:ext uri="{FF2B5EF4-FFF2-40B4-BE49-F238E27FC236}">
                <a16:creationId xmlns:a16="http://schemas.microsoft.com/office/drawing/2014/main" id="{D85FE49A-437C-3640-8C56-0B8BCAB424CD}"/>
              </a:ext>
            </a:extLst>
          </p:cNvPr>
          <p:cNvPicPr>
            <a:picLocks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76800" y="0"/>
            <a:ext cx="7315200" cy="6858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7DD33B4-743D-094D-8306-F969998CF954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A6987A9-AF90-0846-884F-3288346AD80C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0C5DEA6-4A5A-C842-A4A5-747B5DFD37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Primary: Click to Add Presentation Title in Arial Bold 34pt. Title Case.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C878F1E-8E9D-AC46-ADC9-0E7E194258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83185"/>
            <a:ext cx="4133088" cy="12400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/ Author Na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711A761-901E-B846-B74B-96C382ADCDD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3A4607-8514-5241-BC9C-9E5080C7AF8C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3C6BFCEF-CB7A-D245-9621-D646F4E6C4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535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</a:t>
            </a:r>
            <a:br>
              <a:rPr lang="en-US"/>
            </a:br>
            <a:r>
              <a:rPr lang="en-US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1955578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</a:t>
            </a:r>
            <a:br>
              <a:rPr lang="en-US"/>
            </a:br>
            <a:r>
              <a:rPr lang="en-US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1115134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514348" y="1302389"/>
            <a:ext cx="5400000" cy="4996811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 in Arial Bold 28pt. Title Case.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6274348" y="1331268"/>
            <a:ext cx="5400000" cy="4963206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57260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4348" y="1369770"/>
            <a:ext cx="5400000" cy="2834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514348" y="1909512"/>
            <a:ext cx="5400000" cy="438968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4348" y="1369770"/>
            <a:ext cx="5400000" cy="2834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2000" b="1" dirty="0" smtClean="0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4"/>
          </p:nvPr>
        </p:nvSpPr>
        <p:spPr>
          <a:xfrm>
            <a:off x="6274348" y="1909512"/>
            <a:ext cx="5400000" cy="438968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1532237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194348" y="987426"/>
            <a:ext cx="6480000" cy="53117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600"/>
            </a:lvl1pPr>
            <a:lvl2pPr>
              <a:lnSpc>
                <a:spcPct val="110000"/>
              </a:lnSpc>
              <a:defRPr sz="1400"/>
            </a:lvl2pPr>
            <a:lvl3pPr>
              <a:lnSpc>
                <a:spcPct val="110000"/>
              </a:lnSpc>
              <a:defRPr sz="1200"/>
            </a:lvl3pPr>
            <a:lvl4pPr>
              <a:defRPr sz="1200"/>
            </a:lvl4pPr>
            <a:lvl5pPr>
              <a:defRPr sz="1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48" y="2158148"/>
            <a:ext cx="4320000" cy="41410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14348" y="655819"/>
            <a:ext cx="4320000" cy="12441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41551782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5194348" y="975499"/>
            <a:ext cx="6480000" cy="5323701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48" y="2158148"/>
            <a:ext cx="4320000" cy="415067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4320000" cy="124358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41460340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2637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878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B2664959-46D8-054F-8588-033E387479F3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Click on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20061636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8"/>
            <a:ext cx="3476092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WHEN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TECHNOLOGY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CONNECTS,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SO DOES HUMANITY.</a:t>
            </a:r>
            <a:endParaRPr lang="en-US" sz="7000" b="1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79833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" descr="A person sitting at a table&#10;&#10;Description automatically generated">
            <a:extLst>
              <a:ext uri="{FF2B5EF4-FFF2-40B4-BE49-F238E27FC236}">
                <a16:creationId xmlns:a16="http://schemas.microsoft.com/office/drawing/2014/main" id="{42871169-12A8-1C42-9606-1A70317D6D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9952" y="3466618"/>
            <a:ext cx="4197096" cy="3391382"/>
          </a:xfrm>
          <a:prstGeom prst="rect">
            <a:avLst/>
          </a:prstGeom>
        </p:spPr>
      </p:pic>
      <p:pic>
        <p:nvPicPr>
          <p:cNvPr id="7" name="Picture 6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D423E103-45C5-C544-AE70-25DAFC51AC46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9952" y="0"/>
            <a:ext cx="7242048" cy="340156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7DD33B4-743D-094D-8306-F969998CF954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A6987A9-AF90-0846-884F-3288346AD80C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0C5DEA6-4A5A-C842-A4A5-747B5DFD37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Alternate: Click to Add Presentation Title in Arial Bold 34pt. Title Case.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C878F1E-8E9D-AC46-ADC9-0E7E194258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83185"/>
            <a:ext cx="4133088" cy="12400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/ Author Na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711A761-901E-B846-B74B-96C382ADCDD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3A4607-8514-5241-BC9C-9E5080C7AF8C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3C6BFCEF-CB7A-D245-9621-D646F4E6C43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  <p:pic>
        <p:nvPicPr>
          <p:cNvPr id="5" name="Picture 4" descr="A picture containing indoor, table, kitchen, counter&#10;&#10;Description automatically generated">
            <a:extLst>
              <a:ext uri="{FF2B5EF4-FFF2-40B4-BE49-F238E27FC236}">
                <a16:creationId xmlns:a16="http://schemas.microsoft.com/office/drawing/2014/main" id="{E7F68BC9-693E-254B-8424-514AC712AC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20200" y="3466618"/>
            <a:ext cx="2971800" cy="3391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147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7"/>
            <a:ext cx="268819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ANY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CONNECTION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CAN CHANGE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THE WORLD</a:t>
            </a:r>
            <a:endParaRPr lang="en-US" sz="7000" b="1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23184058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7"/>
            <a:ext cx="5182700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CONNECT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LIKE THE WORLD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DEPENDS ON IT.</a:t>
            </a:r>
          </a:p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BECAUSE IT DOES.</a:t>
            </a:r>
            <a:endParaRPr lang="en-US" sz="7000" b="1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16387696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E47A0-F197-4145-BB90-223F07D7D0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BD011F-1DAC-4706-8463-05DA38968C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E3A851-D3CD-4046-BCE9-C829C1F23B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FEF03-74CB-4277-8CA2-E9D65FAB4D07}" type="datetimeFigureOut">
              <a:rPr lang="en-GB" smtClean="0"/>
              <a:t>10/11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96EF38-2E99-4028-BD53-6552A7E7A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41E2F1-6F53-464A-8155-64F56EC148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21229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14348" y="655820"/>
            <a:ext cx="1116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16675"/>
            <a:ext cx="4269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919195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514349" y="1465877"/>
            <a:ext cx="11160000" cy="4604723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86538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Single Line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Add Title in Arial Bold 28pt. Title Case.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514349" y="1296543"/>
            <a:ext cx="11160000" cy="4989957"/>
          </a:xfrm>
          <a:prstGeom prst="rect">
            <a:avLst/>
          </a:prstGeom>
        </p:spPr>
        <p:txBody>
          <a:bodyPr>
            <a:noAutofit/>
          </a:bodyPr>
          <a:lstStyle>
            <a:lvl2pPr marL="457200" indent="-228600">
              <a:tabLst/>
              <a:defRPr/>
            </a:lvl2pPr>
            <a:lvl3pPr marL="866775" indent="-222250">
              <a:tabLst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73800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Two Lines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8015" y="6403974"/>
            <a:ext cx="426914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514349" y="1717964"/>
            <a:ext cx="11160000" cy="457651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18"/>
            <a:ext cx="9829800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Add Title in Arial Bold 28pt, Max Two Lines,</a:t>
            </a:r>
            <a:br>
              <a:rPr lang="en-US"/>
            </a:br>
            <a:r>
              <a:rPr lang="en-US"/>
              <a:t>Title Case. </a:t>
            </a:r>
          </a:p>
        </p:txBody>
      </p:sp>
    </p:spTree>
    <p:extLst>
      <p:ext uri="{BB962C8B-B14F-4D97-AF65-F5344CB8AC3E}">
        <p14:creationId xmlns:p14="http://schemas.microsoft.com/office/powerpoint/2010/main" val="445277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E0434DB-3B27-D540-AB97-A58DF145623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BDAE19-E5C9-CE47-88B9-5CB7B65E4641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CA1A39E-D551-804F-B57E-6C5C466A80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 #1: Click to Add Title in Arial Bold 28pt. Title Case.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C7C431-5C9A-5A48-A38A-31C957BB39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820DBE-C751-1D46-86EB-F9BDD8536B0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7DD8F2F-6B66-B34E-9434-BD1260F62D22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AF696E4D-4639-6D4F-9554-69F1535083D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 area, size: 8” x 7.5”.</a:t>
            </a:r>
            <a:br>
              <a:rPr lang="en-US"/>
            </a:br>
            <a:r>
              <a:rPr lang="en-US"/>
              <a:t>  See following slide for example.</a:t>
            </a:r>
          </a:p>
        </p:txBody>
      </p:sp>
    </p:spTree>
    <p:extLst>
      <p:ext uri="{BB962C8B-B14F-4D97-AF65-F5344CB8AC3E}">
        <p14:creationId xmlns:p14="http://schemas.microsoft.com/office/powerpoint/2010/main" val="3344723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E0434DB-3B27-D540-AB97-A58DF145623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BDAE19-E5C9-CE47-88B9-5CB7B65E4641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CA1A39E-D551-804F-B57E-6C5C466A80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 #1: Click to Add Title in Arial Bold 28pt. Title Case.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C7C431-5C9A-5A48-A38A-31C957BB39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820DBE-C751-1D46-86EB-F9BDD8536B0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7DD8F2F-6B66-B34E-9434-BD1260F62D22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Placeholder 5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F1BDFA8B-AFBF-4142-BBF8-9BCBEE138EB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76800" y="0"/>
            <a:ext cx="7315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2518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96538FC-2CE5-4C4B-9799-30B0F841B426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893968C-80FF-8944-A2B2-1D658ECECAF0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953533-E534-EF47-83B1-BFE03463253F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01A74A1-591D-334D-A931-1E526E02236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 area, size: 8” x 7.5”.</a:t>
            </a:r>
            <a:br>
              <a:rPr lang="en-US"/>
            </a:br>
            <a:r>
              <a:rPr lang="en-US"/>
              <a:t> 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7A0AFB1-2720-244B-A01D-0806512E2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3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74BA31-7895-4B43-BC23-CFEAC02EDD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829693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96538FC-2CE5-4C4B-9799-30B0F841B426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893968C-80FF-8944-A2B2-1D658ECECAF0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953533-E534-EF47-83B1-BFE03463253F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01A74A1-591D-334D-A931-1E526E02236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 area, size: 8” x 7.5”.</a:t>
            </a:r>
            <a:br>
              <a:rPr lang="en-US"/>
            </a:br>
            <a:r>
              <a:rPr lang="en-US"/>
              <a:t> 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7A0AFB1-2720-244B-A01D-0806512E2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3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74BA31-7895-4B43-BC23-CFEAC02EDD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123079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</a:t>
            </a:r>
            <a:br>
              <a:rPr lang="en-US"/>
            </a:br>
            <a:r>
              <a:rPr lang="en-US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2708337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B9550F8-64D6-4250-B5BF-40895429B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546453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28" imgW="306" imgH="306" progId="TCLayout.ActiveDocument.1">
                  <p:embed/>
                </p:oleObj>
              </mc:Choice>
              <mc:Fallback>
                <p:oleObj name="think-cell Folie" r:id="rId28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B9550F8-64D6-4250-B5BF-40895429B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7B083AD-5C3A-43A6-BA40-C8E641F4F288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9FB4610-7AB1-DE45-895B-A160C586AA51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A81C1CC2-597F-764A-8A90-3F8C75BC1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655820"/>
            <a:ext cx="9880228" cy="4737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A6548F-1EDA-3849-A0DE-A334F27F1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4347" y="1296543"/>
            <a:ext cx="11156400" cy="49668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CB28405B-4E36-3749-A149-C32150EE17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7365" y="6400800"/>
            <a:ext cx="426914" cy="42976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 anchor="ctr" anchorCtr="1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EAC5401-B794-1C4D-A638-798EB2B93A3B}"/>
              </a:ext>
            </a:extLst>
          </p:cNvPr>
          <p:cNvSpPr txBox="1"/>
          <p:nvPr/>
        </p:nvSpPr>
        <p:spPr>
          <a:xfrm>
            <a:off x="1011514" y="6502165"/>
            <a:ext cx="10255926" cy="1932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>
              <a:defRPr/>
            </a:pPr>
            <a:r>
              <a:rPr lang="en-US" sz="800" b="1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© 2020 TE Connectivity.</a:t>
            </a:r>
            <a:r>
              <a:rPr lang="en-US" sz="800" b="1">
                <a:solidFill>
                  <a:schemeClr val="tx1"/>
                </a:solidFill>
                <a:effectLst/>
                <a:latin typeface="Arial"/>
                <a:cs typeface="Arial"/>
              </a:rPr>
              <a:t> </a:t>
            </a:r>
            <a:r>
              <a:rPr lang="en-US" sz="800">
                <a:solidFill>
                  <a:schemeClr val="tx1"/>
                </a:solidFill>
                <a:latin typeface="Arial"/>
                <a:cs typeface="Arial"/>
              </a:rPr>
              <a:t>Confidential &amp; Proprietary. Do not reproduce or distribute externally including non-authorized representatives and distributors. </a:t>
            </a:r>
            <a:r>
              <a:rPr lang="en-US" sz="8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 a sustainable future by limiting print copies, and recycling paper.</a:t>
            </a:r>
            <a:endParaRPr lang="en-US" sz="80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99BD22-669C-A241-B1AD-864FE94B365C}"/>
              </a:ext>
            </a:extLst>
          </p:cNvPr>
          <p:cNvCxnSpPr>
            <a:cxnSpLocks/>
          </p:cNvCxnSpPr>
          <p:nvPr/>
        </p:nvCxnSpPr>
        <p:spPr>
          <a:xfrm>
            <a:off x="0" y="6851527"/>
            <a:ext cx="12192000" cy="0"/>
          </a:xfrm>
          <a:prstGeom prst="line">
            <a:avLst/>
          </a:prstGeom>
          <a:ln w="444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1637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13" Type="http://schemas.openxmlformats.org/officeDocument/2006/relationships/image" Target="../media/image27.png"/><Relationship Id="rId3" Type="http://schemas.openxmlformats.org/officeDocument/2006/relationships/hyperlink" Target="https://teams.connect.te.com/sites/TEOA/instructor%20workspace/English%20Modules/TEOA%20110%20OEE/TEOA%20110%20Rev%20E%20OEE.pptx" TargetMode="External"/><Relationship Id="rId7" Type="http://schemas.openxmlformats.org/officeDocument/2006/relationships/image" Target="../media/image12.svg"/><Relationship Id="rId12" Type="http://schemas.openxmlformats.org/officeDocument/2006/relationships/hyperlink" Target="https://teams.connect.te.com/sites/TEOA/instructor%20workspace/English%20Modules/Forms/AllItems.aspx?RootFolder=/sites/TEOA/instructor%20workspace/English%20Modules/TEOA%20111%20TPM&amp;FolderCTID=0x0120000233B35DFAE61A48B6339E92CA4ECB1A&amp;View=%7b0046C594-FE91-48B2-B795-49E9BC80DA37%7d&amp;InitialTabId=Ribbon.Read&amp;VisibilityContext=WSSTabPersistence" TargetMode="External"/><Relationship Id="rId2" Type="http://schemas.openxmlformats.org/officeDocument/2006/relationships/hyperlink" Target="https://teams.connect.te.com/sites/TEOA/instructor%20workspace/English%20Modules/TEOA%20111%20TPM/TEOA%20111%20Rev%20E%20TPM.pptx" TargetMode="External"/><Relationship Id="rId16" Type="http://schemas.openxmlformats.org/officeDocument/2006/relationships/image" Target="../media/image30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11" Type="http://schemas.openxmlformats.org/officeDocument/2006/relationships/image" Target="../media/image13.png"/><Relationship Id="rId5" Type="http://schemas.openxmlformats.org/officeDocument/2006/relationships/slide" Target="slide5.xml"/><Relationship Id="rId15" Type="http://schemas.openxmlformats.org/officeDocument/2006/relationships/image" Target="../media/image29.png"/><Relationship Id="rId10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18.png"/><Relationship Id="rId14" Type="http://schemas.openxmlformats.org/officeDocument/2006/relationships/image" Target="../media/image28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" Target="slide5.xml"/><Relationship Id="rId7" Type="http://schemas.openxmlformats.org/officeDocument/2006/relationships/image" Target="../media/image18.png"/><Relationship Id="rId2" Type="http://schemas.openxmlformats.org/officeDocument/2006/relationships/hyperlink" Target="http://sdp.us.tycoelectronics.com/SDPHome.aspx" TargetMode="External"/><Relationship Id="rId1" Type="http://schemas.openxmlformats.org/officeDocument/2006/relationships/slideLayout" Target="../slideLayouts/slideLayout3.xml"/><Relationship Id="rId6" Type="http://schemas.openxmlformats.org/officeDocument/2006/relationships/slide" Target="slide3.xml"/><Relationship Id="rId11" Type="http://schemas.openxmlformats.org/officeDocument/2006/relationships/hyperlink" Target="https://communities.connect.te.com/sites/TEchNet/communities/ASSY/Pages/TPM_Playbook.aspx" TargetMode="External"/><Relationship Id="rId5" Type="http://schemas.openxmlformats.org/officeDocument/2006/relationships/image" Target="../media/image12.svg"/><Relationship Id="rId10" Type="http://schemas.openxmlformats.org/officeDocument/2006/relationships/hyperlink" Target="https://communities.connect.te.com/sites/TEchNet/communities/ASSY/RTD/RTD%20TPM%20Playbook.ppt" TargetMode="External"/><Relationship Id="rId4" Type="http://schemas.openxmlformats.org/officeDocument/2006/relationships/image" Target="../media/image11.png"/><Relationship Id="rId9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image" Target="../media/image12.sv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image" Target="../media/image11.png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slide" Target="slide5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image" Target="../media/image18.png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hyperlink" Target="https://dmtec.tycoelectronics.com/dmtec/documentDelivery/getFile?deliverableId=85F4D24000001DDC52B52C6100074A1B" TargetMode="Externa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image" Target="../media/image13.png"/><Relationship Id="rId35" Type="http://schemas.openxmlformats.org/officeDocument/2006/relationships/slide" Target="slide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thebluediamondgallery.com/handwriting/s/sustain.html" TargetMode="External"/><Relationship Id="rId3" Type="http://schemas.openxmlformats.org/officeDocument/2006/relationships/image" Target="../media/image11.png"/><Relationship Id="rId7" Type="http://schemas.openxmlformats.org/officeDocument/2006/relationships/image" Target="../media/image32.jpeg"/><Relationship Id="rId2" Type="http://schemas.openxmlformats.org/officeDocument/2006/relationships/slide" Target="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slide" Target="slide3.xml"/><Relationship Id="rId4" Type="http://schemas.openxmlformats.org/officeDocument/2006/relationships/image" Target="../media/image12.svg"/><Relationship Id="rId9" Type="http://schemas.openxmlformats.org/officeDocument/2006/relationships/hyperlink" Target="https://creativecommons.org/licenses/by-sa/3.0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7" Type="http://schemas.openxmlformats.org/officeDocument/2006/relationships/image" Target="../media/image1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6" Type="http://schemas.openxmlformats.org/officeDocument/2006/relationships/slide" Target="slide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7" Type="http://schemas.openxmlformats.org/officeDocument/2006/relationships/image" Target="../media/image18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.xml"/><Relationship Id="rId6" Type="http://schemas.openxmlformats.org/officeDocument/2006/relationships/slide" Target="slide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11.png"/><Relationship Id="rId7" Type="http://schemas.openxmlformats.org/officeDocument/2006/relationships/image" Target="../media/image35.png"/><Relationship Id="rId2" Type="http://schemas.openxmlformats.org/officeDocument/2006/relationships/slide" Target="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slide" Target="slide3.xml"/><Relationship Id="rId4" Type="http://schemas.openxmlformats.org/officeDocument/2006/relationships/image" Target="../media/image12.svg"/><Relationship Id="rId9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7" Type="http://schemas.openxmlformats.org/officeDocument/2006/relationships/image" Target="../media/image18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Relationship Id="rId6" Type="http://schemas.openxmlformats.org/officeDocument/2006/relationships/slide" Target="slide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hyperlink" Target="http://sdp.us.tycoelectronics.com/SDPReportDetail.aspx?RTID=1&amp;SID=637280715416608683&amp;PrevURL=SDPSearch.aspx?SID%3d637280715416608683" TargetMode="External"/><Relationship Id="rId7" Type="http://schemas.openxmlformats.org/officeDocument/2006/relationships/slide" Target="slide3.xm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slide" Target="slide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18" Type="http://schemas.openxmlformats.org/officeDocument/2006/relationships/diagramLayout" Target="../diagrams/layout5.xml"/><Relationship Id="rId26" Type="http://schemas.microsoft.com/office/2007/relationships/diagramDrawing" Target="../diagrams/drawing6.xml"/><Relationship Id="rId3" Type="http://schemas.openxmlformats.org/officeDocument/2006/relationships/diagramLayout" Target="../diagrams/layout2.xml"/><Relationship Id="rId21" Type="http://schemas.microsoft.com/office/2007/relationships/diagramDrawing" Target="../diagrams/drawing5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17" Type="http://schemas.openxmlformats.org/officeDocument/2006/relationships/diagramData" Target="../diagrams/data5.xml"/><Relationship Id="rId25" Type="http://schemas.openxmlformats.org/officeDocument/2006/relationships/diagramColors" Target="../diagrams/colors6.xml"/><Relationship Id="rId33" Type="http://schemas.openxmlformats.org/officeDocument/2006/relationships/image" Target="../media/image18.png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20" Type="http://schemas.openxmlformats.org/officeDocument/2006/relationships/diagramColors" Target="../diagrams/colors5.xml"/><Relationship Id="rId29" Type="http://schemas.openxmlformats.org/officeDocument/2006/relationships/slide" Target="slide5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24" Type="http://schemas.openxmlformats.org/officeDocument/2006/relationships/diagramQuickStyle" Target="../diagrams/quickStyle6.xml"/><Relationship Id="rId32" Type="http://schemas.openxmlformats.org/officeDocument/2006/relationships/slide" Target="slide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23" Type="http://schemas.openxmlformats.org/officeDocument/2006/relationships/diagramLayout" Target="../diagrams/layout6.xml"/><Relationship Id="rId28" Type="http://schemas.openxmlformats.org/officeDocument/2006/relationships/image" Target="../media/image15.svg"/><Relationship Id="rId10" Type="http://schemas.openxmlformats.org/officeDocument/2006/relationships/diagramColors" Target="../diagrams/colors3.xml"/><Relationship Id="rId19" Type="http://schemas.openxmlformats.org/officeDocument/2006/relationships/diagramQuickStyle" Target="../diagrams/quickStyle5.xml"/><Relationship Id="rId31" Type="http://schemas.openxmlformats.org/officeDocument/2006/relationships/image" Target="../media/image12.svg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Relationship Id="rId22" Type="http://schemas.openxmlformats.org/officeDocument/2006/relationships/diagramData" Target="../diagrams/data6.xml"/><Relationship Id="rId27" Type="http://schemas.openxmlformats.org/officeDocument/2006/relationships/image" Target="../media/image40.png"/><Relationship Id="rId30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" Target="slide12.xml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svg"/><Relationship Id="rId10" Type="http://schemas.openxmlformats.org/officeDocument/2006/relationships/image" Target="../media/image17.sv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6" Type="http://schemas.openxmlformats.org/officeDocument/2006/relationships/slide" Target="slide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19.xml"/><Relationship Id="rId3" Type="http://schemas.openxmlformats.org/officeDocument/2006/relationships/slide" Target="slide7.xml"/><Relationship Id="rId7" Type="http://schemas.openxmlformats.org/officeDocument/2006/relationships/slide" Target="slide18.xml"/><Relationship Id="rId2" Type="http://schemas.openxmlformats.org/officeDocument/2006/relationships/slide" Target="slide6.xml"/><Relationship Id="rId1" Type="http://schemas.openxmlformats.org/officeDocument/2006/relationships/slideLayout" Target="../slideLayouts/slideLayout12.xml"/><Relationship Id="rId6" Type="http://schemas.openxmlformats.org/officeDocument/2006/relationships/slide" Target="slide16.xml"/><Relationship Id="rId11" Type="http://schemas.openxmlformats.org/officeDocument/2006/relationships/image" Target="../media/image18.png"/><Relationship Id="rId5" Type="http://schemas.openxmlformats.org/officeDocument/2006/relationships/slide" Target="slide10.xml"/><Relationship Id="rId10" Type="http://schemas.openxmlformats.org/officeDocument/2006/relationships/image" Target="../media/image17.svg"/><Relationship Id="rId4" Type="http://schemas.openxmlformats.org/officeDocument/2006/relationships/slide" Target="slide9.xml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1.png"/><Relationship Id="rId7" Type="http://schemas.openxmlformats.org/officeDocument/2006/relationships/image" Target="../media/image23.jpeg"/><Relationship Id="rId2" Type="http://schemas.openxmlformats.org/officeDocument/2006/relationships/slide" Target="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slide" Target="slide3.xml"/><Relationship Id="rId4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slide" Target="slide3.xml"/><Relationship Id="rId4" Type="http://schemas.openxmlformats.org/officeDocument/2006/relationships/image" Target="../media/image12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slide" Target="slide3.xml"/><Relationship Id="rId4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slide" Target="slide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C6DA5B3-5ECF-4453-84C1-8593A9DA91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otal Productive Maintenance (TPM) Playbook</a:t>
            </a:r>
            <a:br>
              <a:rPr lang="en-GB" dirty="0"/>
            </a:br>
            <a:br>
              <a:rPr lang="en-GB" dirty="0"/>
            </a:br>
            <a:r>
              <a:rPr lang="en-US" dirty="0"/>
              <a:t>TEC-406-160019</a:t>
            </a:r>
            <a:br>
              <a:rPr lang="en-GB" dirty="0"/>
            </a:br>
            <a:endParaRPr lang="en-GB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7C20FABB-2F15-42F5-9CE9-AA271317BD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August 2020</a:t>
            </a:r>
          </a:p>
          <a:p>
            <a:endParaRPr lang="en-GB" dirty="0"/>
          </a:p>
          <a:p>
            <a:r>
              <a:rPr lang="en-GB" dirty="0"/>
              <a:t>Global Operations</a:t>
            </a:r>
            <a:endParaRPr lang="en-GB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21806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BC577F-832B-45E1-9A3C-2459BBD9A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037" y="120994"/>
            <a:ext cx="9829800" cy="457200"/>
          </a:xfrm>
        </p:spPr>
        <p:txBody>
          <a:bodyPr/>
          <a:lstStyle/>
          <a:p>
            <a:r>
              <a:rPr lang="en-GB" dirty="0"/>
              <a:t>4. How to Use TPM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605BFB-9DD7-4EE4-94BB-A42D5839786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272583" y="721635"/>
            <a:ext cx="8602297" cy="5268564"/>
          </a:xfrm>
        </p:spPr>
        <p:txBody>
          <a:bodyPr/>
          <a:lstStyle/>
          <a:p>
            <a:r>
              <a:rPr lang="en-US" sz="2000" b="1" dirty="0"/>
              <a:t>Prep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Bring the concept of TPM to the employees through training </a:t>
            </a:r>
            <a:r>
              <a:rPr lang="en-US" sz="2000" i="1" dirty="0">
                <a:hlinkClick r:id="rId2"/>
              </a:rPr>
              <a:t>TEOA 111 TPM</a:t>
            </a: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hare examples from within the plant plus best practices shared from other sit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Form a </a:t>
            </a:r>
            <a:r>
              <a:rPr lang="en-US" sz="2000" b="1" dirty="0"/>
              <a:t>TPM Steering Committee </a:t>
            </a:r>
            <a:r>
              <a:rPr lang="en-US" sz="2000" dirty="0"/>
              <a:t>consisting of a multi-function group and assign a </a:t>
            </a:r>
            <a:r>
              <a:rPr lang="en-US" sz="2000" b="1" dirty="0"/>
              <a:t>TPM Coordinator </a:t>
            </a:r>
            <a:r>
              <a:rPr lang="en-US" sz="2000" dirty="0"/>
              <a:t>a </a:t>
            </a:r>
            <a:r>
              <a:rPr lang="en-US" sz="2000" b="1" dirty="0"/>
              <a:t>dedicated resource.</a:t>
            </a:r>
          </a:p>
          <a:p>
            <a:pPr lvl="1"/>
            <a:r>
              <a:rPr lang="en-US" sz="1600" dirty="0"/>
              <a:t>Identify your </a:t>
            </a:r>
            <a:r>
              <a:rPr lang="en-US" sz="1600" b="1" dirty="0"/>
              <a:t>critical equipment </a:t>
            </a:r>
            <a:r>
              <a:rPr lang="en-US" sz="1600" dirty="0"/>
              <a:t>by using factors like:</a:t>
            </a:r>
            <a:r>
              <a:rPr lang="en-US" sz="1600" b="1" dirty="0"/>
              <a:t> </a:t>
            </a:r>
            <a:r>
              <a:rPr lang="en-US" sz="1600" dirty="0"/>
              <a:t>low OEE &amp; high load; high consumption of spare parts; high unexpected downtimes; COPQ…</a:t>
            </a:r>
          </a:p>
          <a:p>
            <a:pPr lvl="1"/>
            <a:r>
              <a:rPr lang="en-US" sz="1600" dirty="0"/>
              <a:t>Establish Baseline Performance Metrics of your critical Equipment</a:t>
            </a:r>
          </a:p>
          <a:p>
            <a:pPr lvl="2"/>
            <a:r>
              <a:rPr lang="en-US" sz="1600" dirty="0"/>
              <a:t>OEE (</a:t>
            </a:r>
            <a:r>
              <a:rPr lang="en-US" sz="1600" dirty="0">
                <a:hlinkClick r:id="rId3"/>
              </a:rPr>
              <a:t>training link</a:t>
            </a:r>
            <a:r>
              <a:rPr lang="en-US" sz="1600" dirty="0"/>
              <a:t> to view training materials) </a:t>
            </a:r>
          </a:p>
          <a:p>
            <a:pPr lvl="2"/>
            <a:r>
              <a:rPr lang="en-US" sz="1600" dirty="0"/>
              <a:t>MTBF (Mean Time Between Failures) </a:t>
            </a:r>
          </a:p>
          <a:p>
            <a:pPr lvl="2"/>
            <a:r>
              <a:rPr lang="en-US" sz="1600" dirty="0"/>
              <a:t>MTTR (Mean Time To Repair)</a:t>
            </a:r>
          </a:p>
          <a:p>
            <a:pPr lvl="2"/>
            <a:r>
              <a:rPr lang="en-US" sz="1600" dirty="0"/>
              <a:t>Maintenance activities on time in %</a:t>
            </a:r>
          </a:p>
          <a:p>
            <a:pPr lvl="2"/>
            <a:r>
              <a:rPr lang="en-US" sz="1600" dirty="0"/>
              <a:t>Equipment Availability.(Tools, machines, facilities….)</a:t>
            </a:r>
          </a:p>
          <a:p>
            <a:pPr lvl="2"/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C6690F-2D5E-479E-A892-173BF6B978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3944" y="3801994"/>
            <a:ext cx="2667000" cy="100965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113F2A19-1C38-490D-987A-A0B54A360C33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15" name="Graphic 14" descr="List">
              <a:hlinkClick r:id="rId5" action="ppaction://hlinksldjump"/>
              <a:extLst>
                <a:ext uri="{FF2B5EF4-FFF2-40B4-BE49-F238E27FC236}">
                  <a16:creationId xmlns:a16="http://schemas.microsoft.com/office/drawing/2014/main" id="{65E5B78C-3318-49FD-97E7-18749119C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7C9079B-488F-445E-BE9A-C0F134255629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7" name="Picture 16">
            <a:hlinkClick r:id="rId8" action="ppaction://hlinksldjump"/>
            <a:extLst>
              <a:ext uri="{FF2B5EF4-FFF2-40B4-BE49-F238E27FC236}">
                <a16:creationId xmlns:a16="http://schemas.microsoft.com/office/drawing/2014/main" id="{95202126-A484-489F-A98C-57A7EC6C31C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B8EFB0E-CA50-4C4B-B418-C96B384D2AB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8005" y="814736"/>
            <a:ext cx="2118169" cy="158631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3E268E36-0468-4D9B-83E3-483778813497}"/>
              </a:ext>
            </a:extLst>
          </p:cNvPr>
          <p:cNvSpPr/>
          <p:nvPr/>
        </p:nvSpPr>
        <p:spPr>
          <a:xfrm>
            <a:off x="9554848" y="2506813"/>
            <a:ext cx="25101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/>
              <a:t>Refer to training module </a:t>
            </a:r>
            <a:r>
              <a:rPr lang="en-US" sz="1600" i="1" dirty="0">
                <a:hlinkClick r:id="rId2"/>
              </a:rPr>
              <a:t>TEOA 111 TPM</a:t>
            </a:r>
            <a:endParaRPr lang="en-US" sz="1600" i="1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C569510-03C7-4CC9-91C6-5EBFF1429FE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0809" y="2401053"/>
            <a:ext cx="634039" cy="634039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58A4A6BB-D857-47E8-BFBD-6BCE0B55A3D4}"/>
              </a:ext>
            </a:extLst>
          </p:cNvPr>
          <p:cNvSpPr/>
          <p:nvPr/>
        </p:nvSpPr>
        <p:spPr>
          <a:xfrm>
            <a:off x="9027798" y="4955085"/>
            <a:ext cx="303720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/>
              <a:t>Additional and more detailed training materials available in </a:t>
            </a:r>
            <a:r>
              <a:rPr lang="en-US" sz="1600" i="1" dirty="0">
                <a:hlinkClick r:id="rId12" tooltip="Click here to access additional TPM Materials"/>
              </a:rPr>
              <a:t>TPM Folder </a:t>
            </a:r>
            <a:r>
              <a:rPr lang="en-US" sz="1600" i="1" dirty="0"/>
              <a:t>on TEOA SharePoin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243136F-D637-45CF-8BD4-DA9275D9FF7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759" y="4955085"/>
            <a:ext cx="634039" cy="634039"/>
          </a:xfrm>
          <a:prstGeom prst="rect">
            <a:avLst/>
          </a:prstGeom>
        </p:spPr>
      </p:pic>
      <p:pic>
        <p:nvPicPr>
          <p:cNvPr id="6" name="Graphic 5" descr="Downward trend">
            <a:extLst>
              <a:ext uri="{FF2B5EF4-FFF2-40B4-BE49-F238E27FC236}">
                <a16:creationId xmlns:a16="http://schemas.microsoft.com/office/drawing/2014/main" id="{9650F3CA-1F99-4BBE-87E2-3FC298A889C7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849498" y="4931878"/>
            <a:ext cx="433993" cy="433993"/>
          </a:xfrm>
          <a:prstGeom prst="rect">
            <a:avLst/>
          </a:prstGeom>
        </p:spPr>
      </p:pic>
      <p:pic>
        <p:nvPicPr>
          <p:cNvPr id="10" name="Graphic 9" descr="Upward trend">
            <a:extLst>
              <a:ext uri="{FF2B5EF4-FFF2-40B4-BE49-F238E27FC236}">
                <a16:creationId xmlns:a16="http://schemas.microsoft.com/office/drawing/2014/main" id="{48554EDE-D807-4371-A9B4-8C7CCC6C1923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637094" y="4578174"/>
            <a:ext cx="433993" cy="433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4876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BC577F-832B-45E1-9A3C-2459BBD9A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037" y="120994"/>
            <a:ext cx="9829800" cy="457200"/>
          </a:xfrm>
        </p:spPr>
        <p:txBody>
          <a:bodyPr/>
          <a:lstStyle/>
          <a:p>
            <a:r>
              <a:rPr lang="en-GB"/>
              <a:t>4. How to Use TPM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605BFB-9DD7-4EE4-94BB-A42D5839786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43205" y="708959"/>
            <a:ext cx="6096388" cy="5353554"/>
          </a:xfrm>
        </p:spPr>
        <p:txBody>
          <a:bodyPr/>
          <a:lstStyle/>
          <a:p>
            <a:r>
              <a:rPr lang="en-US" sz="2400" b="1" dirty="0"/>
              <a:t>Diagnose and Design</a:t>
            </a:r>
          </a:p>
          <a:p>
            <a:pPr lvl="1"/>
            <a:r>
              <a:rPr lang="en-US" sz="2000" dirty="0"/>
              <a:t>Identify opportunities for improvement in areas with biggest gap on target expectations. </a:t>
            </a:r>
          </a:p>
          <a:p>
            <a:pPr lvl="1"/>
            <a:r>
              <a:rPr lang="en-US" sz="2000" dirty="0"/>
              <a:t>Consider the TPM level to target. </a:t>
            </a:r>
          </a:p>
          <a:p>
            <a:pPr lvl="1"/>
            <a:r>
              <a:rPr lang="en-US" sz="2000" dirty="0"/>
              <a:t>Assess potential benefits.</a:t>
            </a:r>
          </a:p>
          <a:p>
            <a:pPr lvl="1"/>
            <a:r>
              <a:rPr lang="en-US" sz="2000" dirty="0"/>
              <a:t>Compare similar equipment (Best vs. Worst) to have a first impression of potential improvements.</a:t>
            </a:r>
          </a:p>
          <a:p>
            <a:pPr lvl="1"/>
            <a:r>
              <a:rPr lang="en-US" sz="2000" dirty="0"/>
              <a:t>Collect Improvement actions, plan KAIZEN Events accordingly.</a:t>
            </a:r>
          </a:p>
          <a:p>
            <a:pPr lvl="1"/>
            <a:r>
              <a:rPr lang="en-US" sz="2000" dirty="0"/>
              <a:t>Prioritize and schedule TPM activities to the top contributing areas.</a:t>
            </a:r>
          </a:p>
          <a:p>
            <a:pPr lvl="1"/>
            <a:r>
              <a:rPr lang="en-US" sz="2000" dirty="0"/>
              <a:t>Use the </a:t>
            </a:r>
            <a:r>
              <a:rPr lang="en-US" sz="2000" b="1" dirty="0">
                <a:hlinkClick r:id="rId2"/>
              </a:rPr>
              <a:t>Successfully Demonstrated Practice </a:t>
            </a:r>
            <a:r>
              <a:rPr lang="en-US" sz="2000" dirty="0"/>
              <a:t>repository as input for solution finding and ready to deploy projects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13F2A19-1C38-490D-987A-A0B54A360C33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15" name="Graphic 14" descr="List">
              <a:hlinkClick r:id="rId3" action="ppaction://hlinksldjump"/>
              <a:extLst>
                <a:ext uri="{FF2B5EF4-FFF2-40B4-BE49-F238E27FC236}">
                  <a16:creationId xmlns:a16="http://schemas.microsoft.com/office/drawing/2014/main" id="{65E5B78C-3318-49FD-97E7-18749119C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7C9079B-488F-445E-BE9A-C0F134255629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7" name="Picture 16">
            <a:hlinkClick r:id="rId6" action="ppaction://hlinksldjump"/>
            <a:extLst>
              <a:ext uri="{FF2B5EF4-FFF2-40B4-BE49-F238E27FC236}">
                <a16:creationId xmlns:a16="http://schemas.microsoft.com/office/drawing/2014/main" id="{95202126-A484-489F-A98C-57A7EC6C31C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55E697-233B-4A3B-9503-AE6601B74D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9915" y="708959"/>
            <a:ext cx="5529551" cy="427366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16D754C-9023-45AA-8656-6189A606FCF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9915" y="5237718"/>
            <a:ext cx="634039" cy="63403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AD723538-A64B-4C34-A2BA-6EC61612D49D}"/>
              </a:ext>
            </a:extLst>
          </p:cNvPr>
          <p:cNvSpPr/>
          <p:nvPr/>
        </p:nvSpPr>
        <p:spPr>
          <a:xfrm>
            <a:off x="7193280" y="5237718"/>
            <a:ext cx="442837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/>
              <a:t>For additional information refer to the </a:t>
            </a:r>
            <a:r>
              <a:rPr lang="en-US" sz="1600" i="1" dirty="0">
                <a:hlinkClick r:id="rId10"/>
              </a:rPr>
              <a:t>RTD TPM Playbook</a:t>
            </a:r>
            <a:r>
              <a:rPr lang="en-US" sz="1600" i="1" dirty="0"/>
              <a:t> from the Technical Excellence community available on </a:t>
            </a:r>
            <a:r>
              <a:rPr lang="en-US" sz="1600" i="1" dirty="0">
                <a:hlinkClick r:id="rId11"/>
              </a:rPr>
              <a:t>TechNet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41633884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BC577F-832B-45E1-9A3C-2459BBD9A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669" y="184181"/>
            <a:ext cx="9829800" cy="457200"/>
          </a:xfrm>
        </p:spPr>
        <p:txBody>
          <a:bodyPr/>
          <a:lstStyle/>
          <a:p>
            <a:r>
              <a:rPr lang="en-GB" dirty="0"/>
              <a:t>4. How to Use TPM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605BFB-9DD7-4EE4-94BB-A42D5839786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53641" y="719780"/>
            <a:ext cx="5742359" cy="5574738"/>
          </a:xfrm>
        </p:spPr>
        <p:txBody>
          <a:bodyPr/>
          <a:lstStyle/>
          <a:p>
            <a:r>
              <a:rPr lang="en-US" sz="1800" b="1" dirty="0"/>
              <a:t>Implement</a:t>
            </a:r>
          </a:p>
          <a:p>
            <a:pPr lvl="1"/>
            <a:r>
              <a:rPr lang="en-US" sz="1800" dirty="0"/>
              <a:t>A regular cadence of review is established to provide progress updates to the deployment Plan (Site-level min. monthly; Equipment-level min. weekly) </a:t>
            </a:r>
          </a:p>
          <a:p>
            <a:pPr lvl="1"/>
            <a:r>
              <a:rPr lang="en-US" sz="1800" dirty="0"/>
              <a:t>This should be led by the TPM Coordinator and should be attended by</a:t>
            </a:r>
          </a:p>
          <a:p>
            <a:pPr lvl="2"/>
            <a:r>
              <a:rPr lang="en-US" sz="1800" dirty="0"/>
              <a:t>Plant Manager</a:t>
            </a:r>
          </a:p>
          <a:p>
            <a:pPr lvl="2"/>
            <a:r>
              <a:rPr lang="en-US" sz="1800" dirty="0"/>
              <a:t>TEOA Site Leader</a:t>
            </a:r>
          </a:p>
          <a:p>
            <a:pPr lvl="2"/>
            <a:r>
              <a:rPr lang="en-US" sz="1800" dirty="0"/>
              <a:t>The Kaizen owners</a:t>
            </a:r>
          </a:p>
          <a:p>
            <a:pPr lvl="2"/>
            <a:r>
              <a:rPr lang="en-US" sz="1800" dirty="0"/>
              <a:t>Technical Excellence (as required)</a:t>
            </a:r>
          </a:p>
          <a:p>
            <a:pPr lvl="1"/>
            <a:r>
              <a:rPr lang="en-US" sz="1800" dirty="0"/>
              <a:t>The deployment plan is updated.</a:t>
            </a:r>
          </a:p>
          <a:p>
            <a:pPr lvl="1"/>
            <a:r>
              <a:rPr lang="en-US" sz="1800" dirty="0"/>
              <a:t>Clear actions identified for items which are Off track.</a:t>
            </a:r>
          </a:p>
          <a:p>
            <a:pPr lvl="1"/>
            <a:r>
              <a:rPr lang="en-US" sz="1800" b="1" dirty="0">
                <a:solidFill>
                  <a:srgbClr val="00B050"/>
                </a:solidFill>
              </a:rPr>
              <a:t>Green</a:t>
            </a:r>
            <a:r>
              <a:rPr lang="en-US" sz="1800" b="1" dirty="0"/>
              <a:t> / </a:t>
            </a:r>
            <a:r>
              <a:rPr lang="en-US" sz="1800" b="1" dirty="0">
                <a:solidFill>
                  <a:schemeClr val="accent6"/>
                </a:solidFill>
              </a:rPr>
              <a:t>Red</a:t>
            </a:r>
            <a:r>
              <a:rPr lang="en-US" sz="1800" b="1" dirty="0"/>
              <a:t> </a:t>
            </a:r>
            <a:r>
              <a:rPr lang="en-US" sz="1800" dirty="0"/>
              <a:t>coding is used to identify OnTrack / Off track.</a:t>
            </a:r>
          </a:p>
        </p:txBody>
      </p:sp>
      <p:grpSp>
        <p:nvGrpSpPr>
          <p:cNvPr id="9" name="Group 3">
            <a:extLst>
              <a:ext uri="{FF2B5EF4-FFF2-40B4-BE49-F238E27FC236}">
                <a16:creationId xmlns:a16="http://schemas.microsoft.com/office/drawing/2014/main" id="{89F5BC5A-E2B2-4DF5-AB75-37AFF199500B}"/>
              </a:ext>
            </a:extLst>
          </p:cNvPr>
          <p:cNvGrpSpPr>
            <a:grpSpLocks/>
          </p:cNvGrpSpPr>
          <p:nvPr/>
        </p:nvGrpSpPr>
        <p:grpSpPr bwMode="auto">
          <a:xfrm>
            <a:off x="6148017" y="1007723"/>
            <a:ext cx="5835127" cy="4465977"/>
            <a:chOff x="399" y="610"/>
            <a:chExt cx="5138" cy="3284"/>
          </a:xfrm>
        </p:grpSpPr>
        <p:grpSp>
          <p:nvGrpSpPr>
            <p:cNvPr id="10" name="Group 4">
              <a:extLst>
                <a:ext uri="{FF2B5EF4-FFF2-40B4-BE49-F238E27FC236}">
                  <a16:creationId xmlns:a16="http://schemas.microsoft.com/office/drawing/2014/main" id="{8BA35BB4-4A70-4FE8-B194-81628F1F4CA0}"/>
                </a:ext>
              </a:extLst>
            </p:cNvPr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417" y="2033"/>
              <a:ext cx="662" cy="512"/>
              <a:chOff x="340" y="1976"/>
              <a:chExt cx="816" cy="632"/>
            </a:xfrm>
          </p:grpSpPr>
          <p:sp>
            <p:nvSpPr>
              <p:cNvPr id="46" name="Oval 5">
                <a:extLst>
                  <a:ext uri="{FF2B5EF4-FFF2-40B4-BE49-F238E27FC236}">
                    <a16:creationId xmlns:a16="http://schemas.microsoft.com/office/drawing/2014/main" id="{53305753-7FA4-4AFA-96C0-D6FB83E21EA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40" y="1976"/>
                <a:ext cx="816" cy="632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-2500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7" name="Text Box 6">
                <a:extLst>
                  <a:ext uri="{FF2B5EF4-FFF2-40B4-BE49-F238E27FC236}">
                    <a16:creationId xmlns:a16="http://schemas.microsoft.com/office/drawing/2014/main" id="{C6FF31C6-817D-4944-AE3A-FD9A6EE81875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87" y="2215"/>
                <a:ext cx="324" cy="15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921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7858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1779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5716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0288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4860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9432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4004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78581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PM</a:t>
                </a:r>
              </a:p>
            </p:txBody>
          </p:sp>
        </p:grpSp>
        <p:sp>
          <p:nvSpPr>
            <p:cNvPr id="11" name="AutoShape 7">
              <a:extLst>
                <a:ext uri="{FF2B5EF4-FFF2-40B4-BE49-F238E27FC236}">
                  <a16:creationId xmlns:a16="http://schemas.microsoft.com/office/drawing/2014/main" id="{C0ADCD57-5D41-447A-AAF1-AFE532BAB1D3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658" y="2664"/>
              <a:ext cx="180" cy="666"/>
            </a:xfrm>
            <a:prstGeom prst="upArrow">
              <a:avLst>
                <a:gd name="adj1" fmla="val 50000"/>
                <a:gd name="adj2" fmla="val 37685"/>
              </a:avLst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-2500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2" name="AutoShape 8">
              <a:extLst>
                <a:ext uri="{FF2B5EF4-FFF2-40B4-BE49-F238E27FC236}">
                  <a16:creationId xmlns:a16="http://schemas.microsoft.com/office/drawing/2014/main" id="{EA467B69-5D6E-457C-8CA7-F2A41C8B0175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 rot="10800000">
              <a:off x="658" y="1249"/>
              <a:ext cx="180" cy="667"/>
            </a:xfrm>
            <a:prstGeom prst="upArrow">
              <a:avLst>
                <a:gd name="adj1" fmla="val 50000"/>
                <a:gd name="adj2" fmla="val 37673"/>
              </a:avLst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-2500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3" name="Text Box 9">
              <a:extLst>
                <a:ext uri="{FF2B5EF4-FFF2-40B4-BE49-F238E27FC236}">
                  <a16:creationId xmlns:a16="http://schemas.microsoft.com/office/drawing/2014/main" id="{689C06C0-27D9-44D3-A7AA-CADCB358B44D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99" y="3369"/>
              <a:ext cx="794" cy="24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92113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785813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177925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571625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0288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4860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9432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4004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785813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worker involvement</a:t>
              </a:r>
            </a:p>
          </p:txBody>
        </p:sp>
        <p:sp>
          <p:nvSpPr>
            <p:cNvPr id="14" name="Text Box 10">
              <a:extLst>
                <a:ext uri="{FF2B5EF4-FFF2-40B4-BE49-F238E27FC236}">
                  <a16:creationId xmlns:a16="http://schemas.microsoft.com/office/drawing/2014/main" id="{C09F30A3-FC22-47C1-A5A1-7E291837F4C6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99" y="707"/>
              <a:ext cx="818" cy="37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92113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785813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177925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571625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0288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4860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9432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4004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785813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op management support</a:t>
              </a:r>
            </a:p>
          </p:txBody>
        </p:sp>
        <p:sp>
          <p:nvSpPr>
            <p:cNvPr id="18" name="Text Box 12">
              <a:extLst>
                <a:ext uri="{FF2B5EF4-FFF2-40B4-BE49-F238E27FC236}">
                  <a16:creationId xmlns:a16="http://schemas.microsoft.com/office/drawing/2014/main" id="{5AEB9106-F4FD-4B92-865A-378C77FB5EE8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 rot="5400000">
              <a:off x="3824" y="2177"/>
              <a:ext cx="3207" cy="21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8557" tIns="39278" rIns="78557" bIns="39278">
              <a:spAutoFit/>
            </a:bodyPr>
            <a:lstStyle>
              <a:lvl1pPr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92113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785813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177925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571625" defTabSz="785813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0288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4860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9432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400425" defTabSz="785813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785813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ompetitiveness</a:t>
              </a:r>
            </a:p>
          </p:txBody>
        </p:sp>
        <p:sp>
          <p:nvSpPr>
            <p:cNvPr id="19" name="Line 13">
              <a:extLst>
                <a:ext uri="{FF2B5EF4-FFF2-40B4-BE49-F238E27FC236}">
                  <a16:creationId xmlns:a16="http://schemas.microsoft.com/office/drawing/2014/main" id="{88F281FC-B751-4A72-A841-03243C7E063C}"/>
                </a:ext>
              </a:extLst>
            </p:cNvPr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gray">
            <a:xfrm flipV="1">
              <a:off x="866" y="626"/>
              <a:ext cx="767" cy="1421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-2500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0" name="Line 14">
              <a:extLst>
                <a:ext uri="{FF2B5EF4-FFF2-40B4-BE49-F238E27FC236}">
                  <a16:creationId xmlns:a16="http://schemas.microsoft.com/office/drawing/2014/main" id="{8D4A0737-0BD2-45CE-B9D8-377BAAAF2B21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gray">
            <a:xfrm>
              <a:off x="849" y="2530"/>
              <a:ext cx="784" cy="135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-2500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21" name="Group 15">
              <a:extLst>
                <a:ext uri="{FF2B5EF4-FFF2-40B4-BE49-F238E27FC236}">
                  <a16:creationId xmlns:a16="http://schemas.microsoft.com/office/drawing/2014/main" id="{BCB9EFFA-D894-4319-8DC5-4C7C61BD733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86" y="610"/>
              <a:ext cx="3551" cy="588"/>
              <a:chOff x="1686" y="610"/>
              <a:chExt cx="3551" cy="588"/>
            </a:xfrm>
          </p:grpSpPr>
          <p:sp>
            <p:nvSpPr>
              <p:cNvPr id="42" name="Rectangle 16">
                <a:extLst>
                  <a:ext uri="{FF2B5EF4-FFF2-40B4-BE49-F238E27FC236}">
                    <a16:creationId xmlns:a16="http://schemas.microsoft.com/office/drawing/2014/main" id="{1880EECC-7CC8-462A-B98E-8FC906AF295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777" y="687"/>
                <a:ext cx="3460" cy="51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accent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-2500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3" name="Text Box 17">
                <a:extLst>
                  <a:ext uri="{FF2B5EF4-FFF2-40B4-BE49-F238E27FC236}">
                    <a16:creationId xmlns:a16="http://schemas.microsoft.com/office/drawing/2014/main" id="{15045AD2-A634-4B50-8D98-85523C436FD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855" y="699"/>
                <a:ext cx="869" cy="249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921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7858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1779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5716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0288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4860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9432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4004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78581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Monitor and use OEE</a:t>
                </a:r>
              </a:p>
            </p:txBody>
          </p:sp>
          <p:sp>
            <p:nvSpPr>
              <p:cNvPr id="44" name="Rectangle 18">
                <a:extLst>
                  <a:ext uri="{FF2B5EF4-FFF2-40B4-BE49-F238E27FC236}">
                    <a16:creationId xmlns:a16="http://schemas.microsoft.com/office/drawing/2014/main" id="{C6F04EBC-8F9D-456A-A06A-1833A681824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2798" y="699"/>
                <a:ext cx="2377" cy="373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marL="158750" indent="-158750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46075" indent="-185738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530225" indent="-18256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708025" indent="-176213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885825" indent="-17621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3430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18002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2574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27146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Introduce a comprehensive measure to track machine availability losses and prioritize opportunities</a:t>
                </a:r>
              </a:p>
            </p:txBody>
          </p:sp>
          <p:sp>
            <p:nvSpPr>
              <p:cNvPr id="45" name="Oval 19">
                <a:extLst>
                  <a:ext uri="{FF2B5EF4-FFF2-40B4-BE49-F238E27FC236}">
                    <a16:creationId xmlns:a16="http://schemas.microsoft.com/office/drawing/2014/main" id="{89B678B5-1276-4DAD-B60A-3B464CC98FF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86" y="610"/>
                <a:ext cx="152" cy="152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3810" tIns="0" rIns="3810" bIns="0" anchor="ctr" anchorCtr="1"/>
              <a:lstStyle>
                <a:lvl1pPr marL="158750" indent="-158750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46075" indent="-185738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596900" indent="-18256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887413" indent="-176213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177925" indent="-17621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6351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0923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5495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0067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</p:grpSp>
        <p:grpSp>
          <p:nvGrpSpPr>
            <p:cNvPr id="22" name="Group 20">
              <a:extLst>
                <a:ext uri="{FF2B5EF4-FFF2-40B4-BE49-F238E27FC236}">
                  <a16:creationId xmlns:a16="http://schemas.microsoft.com/office/drawing/2014/main" id="{50221E4C-42AF-482A-9EF1-A131F356B49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86" y="1258"/>
              <a:ext cx="3551" cy="649"/>
              <a:chOff x="1686" y="1258"/>
              <a:chExt cx="3551" cy="649"/>
            </a:xfrm>
          </p:grpSpPr>
          <p:sp>
            <p:nvSpPr>
              <p:cNvPr id="38" name="Rectangle 21">
                <a:extLst>
                  <a:ext uri="{FF2B5EF4-FFF2-40B4-BE49-F238E27FC236}">
                    <a16:creationId xmlns:a16="http://schemas.microsoft.com/office/drawing/2014/main" id="{DA68112E-5D4C-492F-AC46-0CD7A118EA9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777" y="1335"/>
                <a:ext cx="3460" cy="57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accent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-2500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39" name="Text Box 22">
                <a:extLst>
                  <a:ext uri="{FF2B5EF4-FFF2-40B4-BE49-F238E27FC236}">
                    <a16:creationId xmlns:a16="http://schemas.microsoft.com/office/drawing/2014/main" id="{47FC216F-F6A0-4053-AC1B-00AF4236225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855" y="1359"/>
                <a:ext cx="869" cy="373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921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7858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1779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5716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0288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4860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9432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4004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78581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Rely on autonomous</a:t>
                </a:r>
              </a:p>
              <a:p>
                <a:pPr marL="0" marR="0" lvl="0" indent="0" algn="ctr" defTabSz="78581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maintenance</a:t>
                </a:r>
              </a:p>
            </p:txBody>
          </p:sp>
          <p:sp>
            <p:nvSpPr>
              <p:cNvPr id="40" name="Rectangle 23">
                <a:extLst>
                  <a:ext uri="{FF2B5EF4-FFF2-40B4-BE49-F238E27FC236}">
                    <a16:creationId xmlns:a16="http://schemas.microsoft.com/office/drawing/2014/main" id="{39A641EE-0528-47F8-A2E8-AED0A030987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2798" y="1359"/>
                <a:ext cx="2377" cy="249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marL="158750" indent="-158750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46075" indent="-185738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530225" indent="-18256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708025" indent="-176213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885825" indent="-17621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3430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18002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2574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27146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Instill a sense of ownership</a:t>
                </a:r>
              </a:p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Make full use of worker knowledge</a:t>
                </a:r>
              </a:p>
            </p:txBody>
          </p:sp>
          <p:sp>
            <p:nvSpPr>
              <p:cNvPr id="41" name="Oval 24">
                <a:extLst>
                  <a:ext uri="{FF2B5EF4-FFF2-40B4-BE49-F238E27FC236}">
                    <a16:creationId xmlns:a16="http://schemas.microsoft.com/office/drawing/2014/main" id="{7852E033-8898-42A4-8F0B-8C313A3C0D0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86" y="1258"/>
                <a:ext cx="152" cy="152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3810" tIns="0" rIns="3810" bIns="0" anchor="ctr" anchorCtr="1"/>
              <a:lstStyle>
                <a:lvl1pPr marL="158750" indent="-158750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46075" indent="-185738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596900" indent="-18256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887413" indent="-176213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177925" indent="-17621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6351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0923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5495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0067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</p:grpSp>
        <p:grpSp>
          <p:nvGrpSpPr>
            <p:cNvPr id="23" name="Group 25">
              <a:extLst>
                <a:ext uri="{FF2B5EF4-FFF2-40B4-BE49-F238E27FC236}">
                  <a16:creationId xmlns:a16="http://schemas.microsoft.com/office/drawing/2014/main" id="{59D6AD03-E5CB-4CBE-8944-738203EA0CA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86" y="1968"/>
              <a:ext cx="3551" cy="588"/>
              <a:chOff x="1686" y="1968"/>
              <a:chExt cx="3551" cy="588"/>
            </a:xfrm>
          </p:grpSpPr>
          <p:sp>
            <p:nvSpPr>
              <p:cNvPr id="34" name="Rectangle 26">
                <a:extLst>
                  <a:ext uri="{FF2B5EF4-FFF2-40B4-BE49-F238E27FC236}">
                    <a16:creationId xmlns:a16="http://schemas.microsoft.com/office/drawing/2014/main" id="{94E5138F-7901-4B3C-B9AC-67C0F0CEAAB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777" y="2045"/>
                <a:ext cx="3460" cy="51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accent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-2500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35" name="Text Box 27">
                <a:extLst>
                  <a:ext uri="{FF2B5EF4-FFF2-40B4-BE49-F238E27FC236}">
                    <a16:creationId xmlns:a16="http://schemas.microsoft.com/office/drawing/2014/main" id="{C75A62B3-8EDD-478B-B352-E898C112415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855" y="2058"/>
                <a:ext cx="869" cy="249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921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7858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1779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5716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0288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4860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9432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4004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78581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treamline the repair process</a:t>
                </a:r>
              </a:p>
            </p:txBody>
          </p:sp>
          <p:sp>
            <p:nvSpPr>
              <p:cNvPr id="36" name="Rectangle 28">
                <a:extLst>
                  <a:ext uri="{FF2B5EF4-FFF2-40B4-BE49-F238E27FC236}">
                    <a16:creationId xmlns:a16="http://schemas.microsoft.com/office/drawing/2014/main" id="{B35FD636-48E4-4878-A696-AF359D0A88D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2798" y="2058"/>
                <a:ext cx="2377" cy="249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marL="158750" indent="-158750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46075" indent="-185738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530225" indent="-18256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708025" indent="-176213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885825" indent="-17621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3430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18002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2574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27146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en-GB" altLang="en-US" sz="11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tandardize the repair process and improve efficiency by eliminating waste</a:t>
                </a:r>
              </a:p>
            </p:txBody>
          </p:sp>
          <p:sp>
            <p:nvSpPr>
              <p:cNvPr id="37" name="Oval 29">
                <a:extLst>
                  <a:ext uri="{FF2B5EF4-FFF2-40B4-BE49-F238E27FC236}">
                    <a16:creationId xmlns:a16="http://schemas.microsoft.com/office/drawing/2014/main" id="{BA1E8C06-3C7A-492F-8C38-CCD3B15CCAB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86" y="1968"/>
                <a:ext cx="152" cy="152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3810" tIns="0" rIns="3810" bIns="0" anchor="ctr" anchorCtr="1"/>
              <a:lstStyle>
                <a:lvl1pPr marL="158750" indent="-158750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46075" indent="-185738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596900" indent="-18256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887413" indent="-176213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177925" indent="-17621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6351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0923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5495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0067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</p:grpSp>
        <p:grpSp>
          <p:nvGrpSpPr>
            <p:cNvPr id="24" name="Group 30">
              <a:extLst>
                <a:ext uri="{FF2B5EF4-FFF2-40B4-BE49-F238E27FC236}">
                  <a16:creationId xmlns:a16="http://schemas.microsoft.com/office/drawing/2014/main" id="{0DFD12BA-6B6B-4B2A-973C-E7FA543641E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86" y="2617"/>
              <a:ext cx="3551" cy="628"/>
              <a:chOff x="1686" y="2617"/>
              <a:chExt cx="3551" cy="628"/>
            </a:xfrm>
          </p:grpSpPr>
          <p:sp>
            <p:nvSpPr>
              <p:cNvPr id="30" name="Rectangle 31">
                <a:extLst>
                  <a:ext uri="{FF2B5EF4-FFF2-40B4-BE49-F238E27FC236}">
                    <a16:creationId xmlns:a16="http://schemas.microsoft.com/office/drawing/2014/main" id="{37420D97-31E8-403B-BF77-11D887B7322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1777" y="2694"/>
                <a:ext cx="3460" cy="55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accent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-2500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31" name="Text Box 32">
                <a:extLst>
                  <a:ext uri="{FF2B5EF4-FFF2-40B4-BE49-F238E27FC236}">
                    <a16:creationId xmlns:a16="http://schemas.microsoft.com/office/drawing/2014/main" id="{EE370D58-B1DA-4697-B46D-74E5891E3EE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855" y="2743"/>
                <a:ext cx="869" cy="373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921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7858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1779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5716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0288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4860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9432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4004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78581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eploy preventive</a:t>
                </a:r>
              </a:p>
              <a:p>
                <a:pPr marL="0" marR="0" lvl="0" indent="0" algn="ctr" defTabSz="78581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maintenance</a:t>
                </a:r>
              </a:p>
            </p:txBody>
          </p:sp>
          <p:sp>
            <p:nvSpPr>
              <p:cNvPr id="32" name="Rectangle 33">
                <a:extLst>
                  <a:ext uri="{FF2B5EF4-FFF2-40B4-BE49-F238E27FC236}">
                    <a16:creationId xmlns:a16="http://schemas.microsoft.com/office/drawing/2014/main" id="{E8F766BB-B06C-407A-9B6F-CD8E3416C4E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2798" y="2743"/>
                <a:ext cx="2377" cy="373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marL="158750" indent="-158750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46075" indent="-185738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530225" indent="-18256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708025" indent="-176213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885825" indent="-17621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3430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18002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2574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27146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en-GB" altLang="en-US" sz="11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rioritize planned maintenance</a:t>
                </a:r>
              </a:p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en-GB" altLang="en-US" sz="11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reserve specialist skills for </a:t>
                </a:r>
                <a:br>
                  <a:rPr kumimoji="0" lang="en-GB" altLang="en-US" sz="11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kumimoji="0" lang="en-GB" altLang="en-US" sz="11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omplex tasks</a:t>
                </a:r>
              </a:p>
            </p:txBody>
          </p:sp>
          <p:sp>
            <p:nvSpPr>
              <p:cNvPr id="33" name="Oval 34">
                <a:extLst>
                  <a:ext uri="{FF2B5EF4-FFF2-40B4-BE49-F238E27FC236}">
                    <a16:creationId xmlns:a16="http://schemas.microsoft.com/office/drawing/2014/main" id="{CC5530CF-9D9A-44DF-B721-0E00A3B44ED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86" y="2617"/>
                <a:ext cx="152" cy="152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3810" tIns="0" rIns="3810" bIns="0" anchor="ctr" anchorCtr="1"/>
              <a:lstStyle>
                <a:lvl1pPr marL="158750" indent="-158750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46075" indent="-185738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596900" indent="-18256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887413" indent="-176213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177925" indent="-17621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6351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0923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5495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0067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  <p:grpSp>
          <p:nvGrpSpPr>
            <p:cNvPr id="25" name="Group 35">
              <a:extLst>
                <a:ext uri="{FF2B5EF4-FFF2-40B4-BE49-F238E27FC236}">
                  <a16:creationId xmlns:a16="http://schemas.microsoft.com/office/drawing/2014/main" id="{AC2A2038-12D7-44BB-BE94-453A0B61337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86" y="3306"/>
              <a:ext cx="3551" cy="588"/>
              <a:chOff x="1686" y="3306"/>
              <a:chExt cx="3551" cy="588"/>
            </a:xfrm>
          </p:grpSpPr>
          <p:sp>
            <p:nvSpPr>
              <p:cNvPr id="26" name="Rectangle 36">
                <a:extLst>
                  <a:ext uri="{FF2B5EF4-FFF2-40B4-BE49-F238E27FC236}">
                    <a16:creationId xmlns:a16="http://schemas.microsoft.com/office/drawing/2014/main" id="{3389B41A-1415-4916-8BB9-07D7E06FDC0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1777" y="3383"/>
                <a:ext cx="3460" cy="51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accent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-2500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7" name="Text Box 37">
                <a:extLst>
                  <a:ext uri="{FF2B5EF4-FFF2-40B4-BE49-F238E27FC236}">
                    <a16:creationId xmlns:a16="http://schemas.microsoft.com/office/drawing/2014/main" id="{0E322801-C8D5-4865-93C3-D0A51B3B4FAD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1855" y="3439"/>
                <a:ext cx="869" cy="249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921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785813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1779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571625" defTabSz="785813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0288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4860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9432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400425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ctr" defTabSz="785813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Build capabilities</a:t>
                </a:r>
              </a:p>
            </p:txBody>
          </p:sp>
          <p:sp>
            <p:nvSpPr>
              <p:cNvPr id="28" name="Rectangle 38">
                <a:extLst>
                  <a:ext uri="{FF2B5EF4-FFF2-40B4-BE49-F238E27FC236}">
                    <a16:creationId xmlns:a16="http://schemas.microsoft.com/office/drawing/2014/main" id="{BCF9976A-FB04-4AB9-B691-3165A31DF8E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2798" y="3439"/>
                <a:ext cx="2377" cy="249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marL="158750" indent="-158750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46075" indent="-185738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530225" indent="-18256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708025" indent="-176213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885825" indent="-17621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3430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18002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2574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27146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en-GB" altLang="en-US" sz="11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echnical training</a:t>
                </a:r>
              </a:p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  <a:defRPr/>
                </a:pPr>
                <a:r>
                  <a:rPr kumimoji="0" lang="en-GB" altLang="en-US" sz="11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Problem solving and teamwork training</a:t>
                </a:r>
              </a:p>
            </p:txBody>
          </p:sp>
          <p:sp>
            <p:nvSpPr>
              <p:cNvPr id="29" name="Oval 39">
                <a:extLst>
                  <a:ext uri="{FF2B5EF4-FFF2-40B4-BE49-F238E27FC236}">
                    <a16:creationId xmlns:a16="http://schemas.microsoft.com/office/drawing/2014/main" id="{D6BCC6CB-D666-4E5C-B26D-365AAC9A4F8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1686" y="3306"/>
                <a:ext cx="152" cy="152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3810" tIns="0" rIns="3810" bIns="0" anchor="ctr" anchorCtr="1"/>
              <a:lstStyle>
                <a:lvl1pPr marL="158750" indent="-158750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346075" indent="-185738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596900" indent="-18256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887413" indent="-176213" eaLnBrk="0" hangingPunct="0"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177925" indent="-176213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16351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0923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5495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006725" indent="-176213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158750" marR="0" lvl="0" indent="-15875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</a:p>
            </p:txBody>
          </p:sp>
        </p:grp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687DD707-0696-4F14-B8C4-391BC3A9230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359" y="5624479"/>
            <a:ext cx="634039" cy="63403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4714DF8-5E0E-4FB0-82BC-34E22F541980}"/>
              </a:ext>
            </a:extLst>
          </p:cNvPr>
          <p:cNvSpPr/>
          <p:nvPr/>
        </p:nvSpPr>
        <p:spPr>
          <a:xfrm>
            <a:off x="8033548" y="5675877"/>
            <a:ext cx="39495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/>
              <a:t>Refer to the </a:t>
            </a:r>
            <a:r>
              <a:rPr lang="en-US" sz="1400" i="1">
                <a:hlinkClick r:id="rId31"/>
              </a:rPr>
              <a:t>TEC-407-707</a:t>
            </a:r>
            <a:r>
              <a:rPr lang="en-US" sz="1400" i="1"/>
              <a:t> for more details on implementing TPM at your site</a:t>
            </a:r>
            <a:endParaRPr lang="en-GB" sz="1400" i="1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EC20C9A-D544-4D94-89DB-C64CEDED46F2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54" name="Graphic 53" descr="List">
              <a:hlinkClick r:id="rId32" action="ppaction://hlinksldjump"/>
              <a:extLst>
                <a:ext uri="{FF2B5EF4-FFF2-40B4-BE49-F238E27FC236}">
                  <a16:creationId xmlns:a16="http://schemas.microsoft.com/office/drawing/2014/main" id="{5B925C2F-CE86-4CAB-9E37-C5528EF6E7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57A0F15-7FB0-4C73-B2AE-8D037793FC30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56" name="Picture 55">
            <a:hlinkClick r:id="rId35" action="ppaction://hlinksldjump"/>
            <a:extLst>
              <a:ext uri="{FF2B5EF4-FFF2-40B4-BE49-F238E27FC236}">
                <a16:creationId xmlns:a16="http://schemas.microsoft.com/office/drawing/2014/main" id="{2C2AAF64-626B-49AB-85E9-5868ECC97464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2261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BC577F-832B-45E1-9A3C-2459BBD9A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669" y="184181"/>
            <a:ext cx="9829800" cy="457200"/>
          </a:xfrm>
        </p:spPr>
        <p:txBody>
          <a:bodyPr/>
          <a:lstStyle/>
          <a:p>
            <a:r>
              <a:rPr lang="en-GB"/>
              <a:t>4. How to Use TPM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605BFB-9DD7-4EE4-94BB-A42D5839786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24575" y="1174667"/>
            <a:ext cx="6685577" cy="4361610"/>
          </a:xfrm>
        </p:spPr>
        <p:txBody>
          <a:bodyPr/>
          <a:lstStyle/>
          <a:p>
            <a:r>
              <a:rPr lang="en-US" sz="2400" b="1" dirty="0"/>
              <a:t>Sustai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heck effectiveness of actions and if the expected return is being achieve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PIM will continue to serve as the management mechanism to continuously improve the process and ensure the processes are running as designed supported by Visual Contro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ea typeface="+mn-lt"/>
                <a:cs typeface="+mn-lt"/>
              </a:rPr>
              <a:t>Communicate successes with the employees for increased awaren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ea typeface="+mn-lt"/>
                <a:cs typeface="+mn-lt"/>
              </a:rPr>
              <a:t>Continue with training and education to increase TPM Skill levels on site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7635EE9-1BB7-44B6-9DA3-BBDB31F5F84B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9" name="Graphic 8" descr="List">
              <a:hlinkClick r:id="rId2" action="ppaction://hlinksldjump"/>
              <a:extLst>
                <a:ext uri="{FF2B5EF4-FFF2-40B4-BE49-F238E27FC236}">
                  <a16:creationId xmlns:a16="http://schemas.microsoft.com/office/drawing/2014/main" id="{CC8F364E-0CA4-4F3A-AD5E-359346DC42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3B3AD56-1384-4142-BE56-F110DC46310C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1" name="Picture 10">
            <a:hlinkClick r:id="rId5" action="ppaction://hlinksldjump"/>
            <a:extLst>
              <a:ext uri="{FF2B5EF4-FFF2-40B4-BE49-F238E27FC236}">
                <a16:creationId xmlns:a16="http://schemas.microsoft.com/office/drawing/2014/main" id="{53C92D01-DF7A-4347-9BCC-34C588EF709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722F1D1-5570-4F6A-8250-AE239DA55F7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7340832" y="2232747"/>
            <a:ext cx="3965170" cy="264344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04A97AB-2D00-4A7A-B427-804F1C45AF40}"/>
              </a:ext>
            </a:extLst>
          </p:cNvPr>
          <p:cNvSpPr txBox="1"/>
          <p:nvPr/>
        </p:nvSpPr>
        <p:spPr>
          <a:xfrm>
            <a:off x="952500" y="6858000"/>
            <a:ext cx="10287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8" tooltip="http://www.thebluediamondgallery.com/handwriting/s/sustain.html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9" tooltip="https://creativecommons.org/licenses/by-sa/3.0/"/>
              </a:rPr>
              <a:t>CC BY-SA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14790956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E6D882-E1E9-43C1-9925-8D6CDACE3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162598"/>
            <a:ext cx="10179051" cy="457200"/>
          </a:xfrm>
        </p:spPr>
        <p:txBody>
          <a:bodyPr/>
          <a:lstStyle/>
          <a:p>
            <a:r>
              <a:rPr lang="en-GB" dirty="0"/>
              <a:t>5. TPM Best Practice Examples – Autonomous Maintenance  example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44D9B391-681B-4809-89B0-18A886B200A4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1253" y="1019732"/>
            <a:ext cx="5322146" cy="4989512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0FFDD78-9ABA-4E3E-8B03-5655FE2BFD59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9" name="Graphic 8" descr="List">
              <a:hlinkClick r:id="rId3" action="ppaction://hlinksldjump"/>
              <a:extLst>
                <a:ext uri="{FF2B5EF4-FFF2-40B4-BE49-F238E27FC236}">
                  <a16:creationId xmlns:a16="http://schemas.microsoft.com/office/drawing/2014/main" id="{2D2B9820-7821-4350-8129-B0678E56F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4691001-A3E0-4437-8E4C-4079F5F1B59B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1" name="Picture 10">
            <a:hlinkClick r:id="rId6" action="ppaction://hlinksldjump"/>
            <a:extLst>
              <a:ext uri="{FF2B5EF4-FFF2-40B4-BE49-F238E27FC236}">
                <a16:creationId xmlns:a16="http://schemas.microsoft.com/office/drawing/2014/main" id="{0E3AA91E-636C-441F-8F82-37AED98F916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B11403B-9DDA-4AD2-8C2F-258141CF90DC}"/>
              </a:ext>
            </a:extLst>
          </p:cNvPr>
          <p:cNvCxnSpPr/>
          <p:nvPr/>
        </p:nvCxnSpPr>
        <p:spPr>
          <a:xfrm>
            <a:off x="3778250" y="2749550"/>
            <a:ext cx="4648200" cy="75565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C1E6306-539C-4BF1-8205-79FBECA2445D}"/>
              </a:ext>
            </a:extLst>
          </p:cNvPr>
          <p:cNvCxnSpPr>
            <a:cxnSpLocks/>
          </p:cNvCxnSpPr>
          <p:nvPr/>
        </p:nvCxnSpPr>
        <p:spPr>
          <a:xfrm>
            <a:off x="3778250" y="2749550"/>
            <a:ext cx="2876550" cy="248546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D61FA30-C33E-474B-A1C5-C9FD3931FEFC}"/>
              </a:ext>
            </a:extLst>
          </p:cNvPr>
          <p:cNvSpPr txBox="1"/>
          <p:nvPr/>
        </p:nvSpPr>
        <p:spPr>
          <a:xfrm>
            <a:off x="577567" y="1801456"/>
            <a:ext cx="37211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Number on machine matches to a number on the Standard work which explains to the worker what tasks need to be performed &amp; when at this specific location</a:t>
            </a:r>
          </a:p>
        </p:txBody>
      </p:sp>
    </p:spTree>
    <p:extLst>
      <p:ext uri="{BB962C8B-B14F-4D97-AF65-F5344CB8AC3E}">
        <p14:creationId xmlns:p14="http://schemas.microsoft.com/office/powerpoint/2010/main" val="19116780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Machine generated alternative text:&#10;&#10;">
            <a:extLst>
              <a:ext uri="{FF2B5EF4-FFF2-40B4-BE49-F238E27FC236}">
                <a16:creationId xmlns:a16="http://schemas.microsoft.com/office/drawing/2014/main" id="{8CF082C6-63C6-458F-B5D4-3B9A6641EC03}"/>
              </a:ext>
            </a:extLst>
          </p:cNvPr>
          <p:cNvPicPr>
            <a:picLocks noGrp="1" noChangeAspect="1" noChangeArrowheads="1"/>
          </p:cNvPicPr>
          <p:nvPr>
            <p:ph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3146" y="1531517"/>
            <a:ext cx="7197385" cy="4048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E6D882-E1E9-43C1-9925-8D6CDACE3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162598"/>
            <a:ext cx="10179051" cy="457200"/>
          </a:xfrm>
        </p:spPr>
        <p:txBody>
          <a:bodyPr/>
          <a:lstStyle/>
          <a:p>
            <a:r>
              <a:rPr lang="en-GB" dirty="0"/>
              <a:t>5. TPM Best Practice Examples – Autonomous Maintenance  examp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0FFDD78-9ABA-4E3E-8B03-5655FE2BFD59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9" name="Graphic 8" descr="List">
              <a:hlinkClick r:id="rId3" action="ppaction://hlinksldjump"/>
              <a:extLst>
                <a:ext uri="{FF2B5EF4-FFF2-40B4-BE49-F238E27FC236}">
                  <a16:creationId xmlns:a16="http://schemas.microsoft.com/office/drawing/2014/main" id="{2D2B9820-7821-4350-8129-B0678E56F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4691001-A3E0-4437-8E4C-4079F5F1B59B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1" name="Picture 10">
            <a:hlinkClick r:id="rId6" action="ppaction://hlinksldjump"/>
            <a:extLst>
              <a:ext uri="{FF2B5EF4-FFF2-40B4-BE49-F238E27FC236}">
                <a16:creationId xmlns:a16="http://schemas.microsoft.com/office/drawing/2014/main" id="{0E3AA91E-636C-441F-8F82-37AED98F916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B11403B-9DDA-4AD2-8C2F-258141CF90DC}"/>
              </a:ext>
            </a:extLst>
          </p:cNvPr>
          <p:cNvCxnSpPr>
            <a:cxnSpLocks/>
          </p:cNvCxnSpPr>
          <p:nvPr/>
        </p:nvCxnSpPr>
        <p:spPr>
          <a:xfrm>
            <a:off x="3778250" y="2749550"/>
            <a:ext cx="5454419" cy="143452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D61FA30-C33E-474B-A1C5-C9FD3931FEFC}"/>
              </a:ext>
            </a:extLst>
          </p:cNvPr>
          <p:cNvSpPr txBox="1"/>
          <p:nvPr/>
        </p:nvSpPr>
        <p:spPr>
          <a:xfrm>
            <a:off x="514348" y="1801456"/>
            <a:ext cx="378431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Tools necessary for maintenance are located in a safe location in the machine, ensuring they are always available to the operator when required, reducing downtime &amp; improving repair time</a:t>
            </a:r>
          </a:p>
        </p:txBody>
      </p:sp>
    </p:spTree>
    <p:extLst>
      <p:ext uri="{BB962C8B-B14F-4D97-AF65-F5344CB8AC3E}">
        <p14:creationId xmlns:p14="http://schemas.microsoft.com/office/powerpoint/2010/main" val="23359336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E6D882-E1E9-43C1-9925-8D6CDACE3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554" y="198620"/>
            <a:ext cx="9829800" cy="457200"/>
          </a:xfrm>
        </p:spPr>
        <p:txBody>
          <a:bodyPr/>
          <a:lstStyle/>
          <a:p>
            <a:r>
              <a:rPr lang="en-GB" dirty="0"/>
              <a:t>5. TPM KPI Metrics Tracking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C03F995-857D-478B-81AB-791910222F75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10" name="Graphic 9" descr="List">
              <a:hlinkClick r:id="rId2" action="ppaction://hlinksldjump"/>
              <a:extLst>
                <a:ext uri="{FF2B5EF4-FFF2-40B4-BE49-F238E27FC236}">
                  <a16:creationId xmlns:a16="http://schemas.microsoft.com/office/drawing/2014/main" id="{9EA63495-3DF6-4483-8D6A-DD87174283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E0F7C61-B668-4A96-9BE2-F4DD898E837C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2" name="Picture 11">
            <a:hlinkClick r:id="rId5" action="ppaction://hlinksldjump"/>
            <a:extLst>
              <a:ext uri="{FF2B5EF4-FFF2-40B4-BE49-F238E27FC236}">
                <a16:creationId xmlns:a16="http://schemas.microsoft.com/office/drawing/2014/main" id="{0B245A47-8E89-4E42-9E86-3BB027F78B9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42F0154-3B77-42B6-9E9E-08C1745710D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906" y="1407092"/>
            <a:ext cx="4204567" cy="22205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42D16DE-62E4-4A70-9DC0-D8CE58D9C554}"/>
              </a:ext>
            </a:extLst>
          </p:cNvPr>
          <p:cNvSpPr txBox="1"/>
          <p:nvPr/>
        </p:nvSpPr>
        <p:spPr>
          <a:xfrm>
            <a:off x="902276" y="3857470"/>
            <a:ext cx="41518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xample of Manual posting of Metric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82025C-F182-46D8-A66B-EBE4A48F19E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48695" y="729629"/>
            <a:ext cx="3623808" cy="20350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15752B6-19F4-489D-B057-3FF61BB13275}"/>
              </a:ext>
            </a:extLst>
          </p:cNvPr>
          <p:cNvSpPr/>
          <p:nvPr/>
        </p:nvSpPr>
        <p:spPr>
          <a:xfrm>
            <a:off x="6631527" y="2767985"/>
            <a:ext cx="36738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</a:rPr>
              <a:t>MTBF Digital Tracking using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</a:rPr>
              <a:t>PowerBi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</a:rPr>
              <a:t>  </a:t>
            </a:r>
            <a:endParaRPr lang="en-GB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666AAC-FE67-431D-8773-A5B10647F26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98546" y="3627629"/>
            <a:ext cx="3469180" cy="20781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D2CDF21-7325-4AE0-A079-D8FC6D17BEB7}"/>
              </a:ext>
            </a:extLst>
          </p:cNvPr>
          <p:cNvSpPr/>
          <p:nvPr/>
        </p:nvSpPr>
        <p:spPr>
          <a:xfrm>
            <a:off x="6589122" y="5801244"/>
            <a:ext cx="3683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</a:rPr>
              <a:t>MTTR Digital Tracking using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</a:rPr>
              <a:t>PowerBi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</a:rPr>
              <a:t>  </a:t>
            </a:r>
            <a:endParaRPr lang="en-GB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57794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E6D882-E1E9-43C1-9925-8D6CDACE3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554" y="198620"/>
            <a:ext cx="9829800" cy="457200"/>
          </a:xfrm>
        </p:spPr>
        <p:txBody>
          <a:bodyPr/>
          <a:lstStyle/>
          <a:p>
            <a:r>
              <a:rPr lang="en-GB"/>
              <a:t>5. TPM Best Practice Examples – Digital examp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DCAAC4E-C857-4E6D-86DB-B8D633B9A8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8" y="1463040"/>
            <a:ext cx="9639300" cy="445562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0C03F995-857D-478B-81AB-791910222F75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10" name="Graphic 9" descr="List">
              <a:hlinkClick r:id="rId3" action="ppaction://hlinksldjump"/>
              <a:extLst>
                <a:ext uri="{FF2B5EF4-FFF2-40B4-BE49-F238E27FC236}">
                  <a16:creationId xmlns:a16="http://schemas.microsoft.com/office/drawing/2014/main" id="{9EA63495-3DF6-4483-8D6A-DD871742839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E0F7C61-B668-4A96-9BE2-F4DD898E837C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2" name="Picture 11">
            <a:hlinkClick r:id="rId6" action="ppaction://hlinksldjump"/>
            <a:extLst>
              <a:ext uri="{FF2B5EF4-FFF2-40B4-BE49-F238E27FC236}">
                <a16:creationId xmlns:a16="http://schemas.microsoft.com/office/drawing/2014/main" id="{0B245A47-8E89-4E42-9E86-3BB027F78B9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7043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4BD02D8-3C85-4DD3-8870-E4AAE2429DD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9349" y="672061"/>
            <a:ext cx="8419499" cy="48475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AC61D7C-A265-4BB0-981F-B8C71BD121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669" y="137844"/>
            <a:ext cx="9829800" cy="457200"/>
          </a:xfrm>
        </p:spPr>
        <p:txBody>
          <a:bodyPr/>
          <a:lstStyle/>
          <a:p>
            <a:r>
              <a:rPr lang="en-GB"/>
              <a:t>6. Access to Shared Best Practices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430E3E94-8A99-4089-8DA5-1B8FCB4573DB}"/>
              </a:ext>
            </a:extLst>
          </p:cNvPr>
          <p:cNvSpPr/>
          <p:nvPr/>
        </p:nvSpPr>
        <p:spPr>
          <a:xfrm>
            <a:off x="6470513" y="5639326"/>
            <a:ext cx="2496148" cy="785584"/>
          </a:xfrm>
          <a:prstGeom prst="wedgeRectCallout">
            <a:avLst>
              <a:gd name="adj1" fmla="val 22289"/>
              <a:gd name="adj2" fmla="val -80948"/>
            </a:avLst>
          </a:prstGeo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hlinkClick r:id="rId3"/>
              </a:rPr>
              <a:t>Click here to search for TPM SDPs</a:t>
            </a:r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F81A05-55D8-48EF-9992-9ADFB37FF2F3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16" name="Graphic 15" descr="List">
              <a:hlinkClick r:id="rId4" action="ppaction://hlinksldjump"/>
              <a:extLst>
                <a:ext uri="{FF2B5EF4-FFF2-40B4-BE49-F238E27FC236}">
                  <a16:creationId xmlns:a16="http://schemas.microsoft.com/office/drawing/2014/main" id="{82E3C6BF-D371-4F75-AF40-FD34A5C79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8C54A32-E756-4060-A29C-D49BA4AE60D9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8" name="Picture 17">
            <a:hlinkClick r:id="rId7" action="ppaction://hlinksldjump"/>
            <a:extLst>
              <a:ext uri="{FF2B5EF4-FFF2-40B4-BE49-F238E27FC236}">
                <a16:creationId xmlns:a16="http://schemas.microsoft.com/office/drawing/2014/main" id="{C0B85026-A922-4B7F-B8AE-9D99904DED0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9227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4BC95C35-BAA1-4914-90A3-613D7F4AFC70}"/>
              </a:ext>
            </a:extLst>
          </p:cNvPr>
          <p:cNvSpPr/>
          <p:nvPr/>
        </p:nvSpPr>
        <p:spPr>
          <a:xfrm>
            <a:off x="1687439" y="602458"/>
            <a:ext cx="7535040" cy="5645453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ADDCEED-361C-4BB5-B265-C4B46F2CC9A4}"/>
              </a:ext>
            </a:extLst>
          </p:cNvPr>
          <p:cNvSpPr/>
          <p:nvPr/>
        </p:nvSpPr>
        <p:spPr>
          <a:xfrm>
            <a:off x="1687048" y="3564394"/>
            <a:ext cx="3248839" cy="265018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4B8ECF-EF1C-4680-A60F-1524118184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753" y="70950"/>
            <a:ext cx="9829800" cy="457200"/>
          </a:xfrm>
        </p:spPr>
        <p:txBody>
          <a:bodyPr/>
          <a:lstStyle/>
          <a:p>
            <a:r>
              <a:rPr lang="en-GB" dirty="0"/>
              <a:t>TPM - Improvement Over ti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A8070D-4187-41D8-BFCA-33E70B1ABB2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9466191" y="709743"/>
            <a:ext cx="2420611" cy="2453587"/>
          </a:xfrm>
        </p:spPr>
        <p:txBody>
          <a:bodyPr/>
          <a:lstStyle/>
          <a:p>
            <a:r>
              <a:rPr lang="en-GB" dirty="0"/>
              <a:t>The cycles surrounding TPM continue to mature as the site evolves over time.</a:t>
            </a:r>
          </a:p>
          <a:p>
            <a:endParaRPr lang="en-GB" dirty="0"/>
          </a:p>
          <a:p>
            <a:r>
              <a:rPr lang="en-GB" dirty="0"/>
              <a:t>See </a:t>
            </a:r>
            <a:r>
              <a:rPr lang="en-GB" dirty="0">
                <a:hlinkClick r:id="" action="ppaction://noaction"/>
              </a:rPr>
              <a:t>Diagnostic Questions </a:t>
            </a:r>
            <a:r>
              <a:rPr lang="en-GB" dirty="0"/>
              <a:t>on next page to help understand the sites level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5291C2E5-5A14-429A-9564-5D749A6BF02F}"/>
              </a:ext>
            </a:extLst>
          </p:cNvPr>
          <p:cNvGraphicFramePr/>
          <p:nvPr/>
        </p:nvGraphicFramePr>
        <p:xfrm>
          <a:off x="2790075" y="3564394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C184D361-1A86-4522-A35E-F8C1D5CFD11F}"/>
              </a:ext>
            </a:extLst>
          </p:cNvPr>
          <p:cNvGraphicFramePr/>
          <p:nvPr/>
        </p:nvGraphicFramePr>
        <p:xfrm>
          <a:off x="4423807" y="2524163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2D5388FD-63B9-4E84-98AB-B9054EA5FEAB}"/>
              </a:ext>
            </a:extLst>
          </p:cNvPr>
          <p:cNvGraphicFramePr/>
          <p:nvPr/>
        </p:nvGraphicFramePr>
        <p:xfrm>
          <a:off x="5682077" y="1531380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A2E32288-2558-4DB9-9BF0-2ABEE6BD8FC8}"/>
              </a:ext>
            </a:extLst>
          </p:cNvPr>
          <p:cNvGraphicFramePr/>
          <p:nvPr/>
        </p:nvGraphicFramePr>
        <p:xfrm>
          <a:off x="6985741" y="556703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1739862F-DC12-4AEF-970B-127EE3D65DDE}"/>
              </a:ext>
            </a:extLst>
          </p:cNvPr>
          <p:cNvSpPr/>
          <p:nvPr/>
        </p:nvSpPr>
        <p:spPr>
          <a:xfrm>
            <a:off x="5397142" y="6214578"/>
            <a:ext cx="689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Tim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FD340F-F9C3-40FD-9CBF-F003DA05FF9D}"/>
              </a:ext>
            </a:extLst>
          </p:cNvPr>
          <p:cNvSpPr/>
          <p:nvPr/>
        </p:nvSpPr>
        <p:spPr>
          <a:xfrm rot="16200000">
            <a:off x="115402" y="3269287"/>
            <a:ext cx="16680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Site TPM Path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67AC675-7E97-452A-9DFA-FA76282CBCE3}"/>
              </a:ext>
            </a:extLst>
          </p:cNvPr>
          <p:cNvSpPr/>
          <p:nvPr/>
        </p:nvSpPr>
        <p:spPr>
          <a:xfrm>
            <a:off x="1662185" y="4629942"/>
            <a:ext cx="1710409" cy="161845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93F74F3A-BC7C-4543-BC51-D590DB1765C3}"/>
              </a:ext>
            </a:extLst>
          </p:cNvPr>
          <p:cNvGraphicFramePr/>
          <p:nvPr/>
        </p:nvGraphicFramePr>
        <p:xfrm>
          <a:off x="1225427" y="4629942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AF2C86E-D0E1-47B9-9877-60E28AC4B4B8}"/>
              </a:ext>
            </a:extLst>
          </p:cNvPr>
          <p:cNvCxnSpPr>
            <a:cxnSpLocks/>
          </p:cNvCxnSpPr>
          <p:nvPr/>
        </p:nvCxnSpPr>
        <p:spPr>
          <a:xfrm>
            <a:off x="1636932" y="6259994"/>
            <a:ext cx="7585547" cy="1898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99E535DD-4EB9-44F1-9819-5EFFF53EAC5C}"/>
              </a:ext>
            </a:extLst>
          </p:cNvPr>
          <p:cNvSpPr/>
          <p:nvPr/>
        </p:nvSpPr>
        <p:spPr>
          <a:xfrm rot="16200000">
            <a:off x="613028" y="5272843"/>
            <a:ext cx="1628154" cy="33855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>
                <a:solidFill>
                  <a:schemeClr val="tx2"/>
                </a:solidFill>
              </a:rPr>
              <a:t>Beginning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948B0E1-5338-45D5-9AC8-2F1C3CE34C32}"/>
              </a:ext>
            </a:extLst>
          </p:cNvPr>
          <p:cNvSpPr/>
          <p:nvPr/>
        </p:nvSpPr>
        <p:spPr>
          <a:xfrm rot="16200000">
            <a:off x="896229" y="3929789"/>
            <a:ext cx="1061751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Stabilised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7A8A76C-638B-4901-8328-3ECD6736FDFA}"/>
              </a:ext>
            </a:extLst>
          </p:cNvPr>
          <p:cNvSpPr/>
          <p:nvPr/>
        </p:nvSpPr>
        <p:spPr>
          <a:xfrm rot="16200000">
            <a:off x="-34164" y="1894448"/>
            <a:ext cx="2922535" cy="338554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Cycles of Improvement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7A11616-9FB4-4A3B-A107-49699DDD226A}"/>
              </a:ext>
            </a:extLst>
          </p:cNvPr>
          <p:cNvCxnSpPr>
            <a:cxnSpLocks/>
          </p:cNvCxnSpPr>
          <p:nvPr/>
        </p:nvCxnSpPr>
        <p:spPr>
          <a:xfrm flipV="1">
            <a:off x="1662185" y="528151"/>
            <a:ext cx="0" cy="573374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Warning">
            <a:extLst>
              <a:ext uri="{FF2B5EF4-FFF2-40B4-BE49-F238E27FC236}">
                <a16:creationId xmlns:a16="http://schemas.microsoft.com/office/drawing/2014/main" id="{827AFC7C-0ECC-4A82-AC2C-7BC89EAE0447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9222479" y="3314607"/>
            <a:ext cx="631265" cy="63126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5B2C35E7-8C87-47FE-A90A-380D035375FE}"/>
              </a:ext>
            </a:extLst>
          </p:cNvPr>
          <p:cNvSpPr txBox="1"/>
          <p:nvPr/>
        </p:nvSpPr>
        <p:spPr>
          <a:xfrm>
            <a:off x="9771389" y="3292537"/>
            <a:ext cx="237073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u="sng" dirty="0">
                <a:solidFill>
                  <a:schemeClr val="accent6"/>
                </a:solidFill>
              </a:rPr>
              <a:t>Note </a:t>
            </a:r>
          </a:p>
          <a:p>
            <a:r>
              <a:rPr lang="en-GB" sz="1600" dirty="0">
                <a:solidFill>
                  <a:schemeClr val="accent6"/>
                </a:solidFill>
              </a:rPr>
              <a:t>There that is no formal Assessment for this tool at Star level 3,4 or 5, however the expectation is for the cycles of Improvement to continue as the site matures.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B043EED-91D8-4280-A8F8-99DD4D99556B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22" name="Graphic 21" descr="List">
              <a:hlinkClick r:id="rId29" action="ppaction://hlinksldjump"/>
              <a:extLst>
                <a:ext uri="{FF2B5EF4-FFF2-40B4-BE49-F238E27FC236}">
                  <a16:creationId xmlns:a16="http://schemas.microsoft.com/office/drawing/2014/main" id="{41084194-7251-4B90-B1C9-E3F68D9E38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CB9AF1E-62F9-4C21-8868-C4184DA425BD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24" name="Picture 23">
            <a:hlinkClick r:id="rId32" action="ppaction://hlinksldjump"/>
            <a:extLst>
              <a:ext uri="{FF2B5EF4-FFF2-40B4-BE49-F238E27FC236}">
                <a16:creationId xmlns:a16="http://schemas.microsoft.com/office/drawing/2014/main" id="{6115102E-26E8-4B6F-BCA9-A380EE239A5E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1451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B8338-15AA-4399-AF76-59E48222E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599" y="162158"/>
            <a:ext cx="9334415" cy="457200"/>
          </a:xfrm>
        </p:spPr>
        <p:txBody>
          <a:bodyPr/>
          <a:lstStyle/>
          <a:p>
            <a:r>
              <a:rPr lang="en-GB"/>
              <a:t>Using the TPM Playbook – What do the Icons Mean?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44CB2AB-45E6-46B2-9610-197C326EE609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119" name="Graphic 118" descr="List">
              <a:hlinkClick r:id="rId3" action="ppaction://hlinksldjump"/>
              <a:extLst>
                <a:ext uri="{FF2B5EF4-FFF2-40B4-BE49-F238E27FC236}">
                  <a16:creationId xmlns:a16="http://schemas.microsoft.com/office/drawing/2014/main" id="{363096E2-6558-4CD8-AFDA-29C8D2297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CB66D116-7BDC-41DA-B5FC-5B6BB93DC4A9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sp>
        <p:nvSpPr>
          <p:cNvPr id="124" name="TextBox 123">
            <a:extLst>
              <a:ext uri="{FF2B5EF4-FFF2-40B4-BE49-F238E27FC236}">
                <a16:creationId xmlns:a16="http://schemas.microsoft.com/office/drawing/2014/main" id="{F2049703-E345-446E-A609-D9F462C3F8AE}"/>
              </a:ext>
            </a:extLst>
          </p:cNvPr>
          <p:cNvSpPr txBox="1"/>
          <p:nvPr/>
        </p:nvSpPr>
        <p:spPr>
          <a:xfrm>
            <a:off x="1404265" y="5355906"/>
            <a:ext cx="33097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lick on the agenda icon to return to the agenda for the current phase 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61C29C5-B17F-4168-94E1-F80E473B264D}"/>
              </a:ext>
            </a:extLst>
          </p:cNvPr>
          <p:cNvSpPr txBox="1"/>
          <p:nvPr/>
        </p:nvSpPr>
        <p:spPr>
          <a:xfrm>
            <a:off x="9932796" y="4735517"/>
            <a:ext cx="22087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Click on the House Icon to return to the TEOA House page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C192F083-1D84-4524-A8C1-40B8EAF9BC47}"/>
              </a:ext>
            </a:extLst>
          </p:cNvPr>
          <p:cNvCxnSpPr>
            <a:cxnSpLocks/>
            <a:stCxn id="124" idx="1"/>
            <a:endCxn id="119" idx="0"/>
          </p:cNvCxnSpPr>
          <p:nvPr/>
        </p:nvCxnSpPr>
        <p:spPr>
          <a:xfrm flipH="1">
            <a:off x="577568" y="5817571"/>
            <a:ext cx="826697" cy="375708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D4058E68-B8DE-4901-8C6D-F9F9D548A40F}"/>
              </a:ext>
            </a:extLst>
          </p:cNvPr>
          <p:cNvCxnSpPr>
            <a:cxnSpLocks/>
          </p:cNvCxnSpPr>
          <p:nvPr/>
        </p:nvCxnSpPr>
        <p:spPr>
          <a:xfrm>
            <a:off x="11063239" y="5701972"/>
            <a:ext cx="491413" cy="580441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5EE2B3AB-81A9-4247-BD8E-CF4CFF6C4D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4509" y="1841173"/>
            <a:ext cx="634039" cy="63403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A7A1CCD-FBD6-4477-B96E-B4BFFD154834}"/>
              </a:ext>
            </a:extLst>
          </p:cNvPr>
          <p:cNvSpPr txBox="1"/>
          <p:nvPr/>
        </p:nvSpPr>
        <p:spPr>
          <a:xfrm>
            <a:off x="7560847" y="1558027"/>
            <a:ext cx="38289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Where this Icon is visible refers to a point of information on the subject, linking to additional Playbooks or Training materials for example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09C19D6-C683-4920-82FA-4E20FBBFBBC2}"/>
              </a:ext>
            </a:extLst>
          </p:cNvPr>
          <p:cNvCxnSpPr>
            <a:cxnSpLocks/>
            <a:stCxn id="23" idx="1"/>
            <a:endCxn id="6" idx="3"/>
          </p:cNvCxnSpPr>
          <p:nvPr/>
        </p:nvCxnSpPr>
        <p:spPr>
          <a:xfrm flipH="1">
            <a:off x="7228548" y="2158192"/>
            <a:ext cx="332299" cy="1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25" descr="Warning">
            <a:extLst>
              <a:ext uri="{FF2B5EF4-FFF2-40B4-BE49-F238E27FC236}">
                <a16:creationId xmlns:a16="http://schemas.microsoft.com/office/drawing/2014/main" id="{0B3CD08D-A066-4FF4-AF53-8967A35367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9978" y="3276023"/>
            <a:ext cx="631265" cy="63126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7B76138D-9D88-4EC1-AF47-2D190B2DD590}"/>
              </a:ext>
            </a:extLst>
          </p:cNvPr>
          <p:cNvSpPr txBox="1"/>
          <p:nvPr/>
        </p:nvSpPr>
        <p:spPr>
          <a:xfrm>
            <a:off x="1479652" y="3268489"/>
            <a:ext cx="3409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Where this Icon is visible refers to a special Note on the subject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8922269-A5C9-4A70-8CE4-81EEFE07A93C}"/>
              </a:ext>
            </a:extLst>
          </p:cNvPr>
          <p:cNvCxnSpPr>
            <a:cxnSpLocks/>
            <a:stCxn id="27" idx="1"/>
            <a:endCxn id="26" idx="3"/>
          </p:cNvCxnSpPr>
          <p:nvPr/>
        </p:nvCxnSpPr>
        <p:spPr>
          <a:xfrm flipH="1">
            <a:off x="1091243" y="3591655"/>
            <a:ext cx="388409" cy="1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phic 34" descr="Speech">
            <a:extLst>
              <a:ext uri="{FF2B5EF4-FFF2-40B4-BE49-F238E27FC236}">
                <a16:creationId xmlns:a16="http://schemas.microsoft.com/office/drawing/2014/main" id="{CD055068-16CD-4A06-928D-2B28CB3D257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9978" y="1744447"/>
            <a:ext cx="641150" cy="64115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EB51E87-CC0C-4E81-8151-260D2054E8F2}"/>
              </a:ext>
            </a:extLst>
          </p:cNvPr>
          <p:cNvSpPr txBox="1"/>
          <p:nvPr/>
        </p:nvSpPr>
        <p:spPr>
          <a:xfrm>
            <a:off x="1467038" y="1741963"/>
            <a:ext cx="3409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Where this Icon is visible refers to a Tip / help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45346EA8-A1B6-4EBB-B433-501825BB4013}"/>
              </a:ext>
            </a:extLst>
          </p:cNvPr>
          <p:cNvCxnSpPr>
            <a:cxnSpLocks/>
            <a:stCxn id="36" idx="1"/>
          </p:cNvCxnSpPr>
          <p:nvPr/>
        </p:nvCxnSpPr>
        <p:spPr>
          <a:xfrm flipH="1">
            <a:off x="1078629" y="2065129"/>
            <a:ext cx="388409" cy="1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39D34736-0A42-42F4-9919-4ED75895CEB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5890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2744911-CBC6-444D-9119-F6031DB445E1}"/>
              </a:ext>
            </a:extLst>
          </p:cNvPr>
          <p:cNvSpPr/>
          <p:nvPr/>
        </p:nvSpPr>
        <p:spPr>
          <a:xfrm>
            <a:off x="1186820" y="657628"/>
            <a:ext cx="10829437" cy="17989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Have Site leadership teams completed training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Have all employees completed Shop Floor (SF 101 &amp; 102) training to have an understanding of TPM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Has a Site implementation team been established. Is this led by a key manager (TPM coordinator ) at the site with responsibility for maintenance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Has a review of current maintenance practices including an audit of the completion performance of current PM been conducted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Is there a site TPM implementation plan developed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Have Metrics to track reduction in machine breakdowns been established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2BC779-6352-46C3-A58F-2727C1CB6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491" y="70797"/>
            <a:ext cx="11475883" cy="590706"/>
          </a:xfrm>
        </p:spPr>
        <p:txBody>
          <a:bodyPr/>
          <a:lstStyle/>
          <a:p>
            <a:r>
              <a:rPr lang="en-GB" dirty="0"/>
              <a:t>Questions to Consider around TPM Deploy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258F6D-1CC3-4A2D-904A-48D6405DFFE8}"/>
              </a:ext>
            </a:extLst>
          </p:cNvPr>
          <p:cNvSpPr/>
          <p:nvPr/>
        </p:nvSpPr>
        <p:spPr>
          <a:xfrm>
            <a:off x="1186820" y="2511948"/>
            <a:ext cx="10829437" cy="1943503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Has constrained and / or critical equipment been identified?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Is there a systematic process in place where OEE is measured and improved for constrained or critical equipment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Are scheduled Preventive Maintenance actions completed on time according to the maintenance plan? If not are there corrective action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Are key TPM Metrics such as MTBF and MTTR demonstrating a clear improvement trend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Is PIM serving as the management mechanism to continuously improve the process and ensure the processes are running as designed? Do the Visual Controls support?</a:t>
            </a:r>
            <a:endParaRPr lang="en-GB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Are Improvement actions collected and KAIZEN Events planned and executed accordingly?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76DF33-006C-48F0-A9F4-B0FDB9CA07C2}"/>
              </a:ext>
            </a:extLst>
          </p:cNvPr>
          <p:cNvSpPr/>
          <p:nvPr/>
        </p:nvSpPr>
        <p:spPr>
          <a:xfrm>
            <a:off x="224491" y="4490728"/>
            <a:ext cx="902099" cy="166727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1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Cycles of Improv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6A1A5A-3BAD-4F75-888E-17927B058971}"/>
              </a:ext>
            </a:extLst>
          </p:cNvPr>
          <p:cNvSpPr/>
          <p:nvPr/>
        </p:nvSpPr>
        <p:spPr>
          <a:xfrm>
            <a:off x="1186820" y="4495879"/>
            <a:ext cx="10829437" cy="16640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The expectation is the cycles of improvements will continue as the site matures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9767D17-102D-4A4D-8BF9-5B98CFA19489}"/>
              </a:ext>
            </a:extLst>
          </p:cNvPr>
          <p:cNvSpPr/>
          <p:nvPr/>
        </p:nvSpPr>
        <p:spPr>
          <a:xfrm>
            <a:off x="224492" y="665440"/>
            <a:ext cx="902098" cy="17988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1"/>
          <a:lstStyle/>
          <a:p>
            <a:pPr algn="ctr"/>
            <a:r>
              <a:rPr lang="en-GB" sz="2400" dirty="0"/>
              <a:t>Beginn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49031D-76B3-467E-8CE6-235955E148FB}"/>
              </a:ext>
            </a:extLst>
          </p:cNvPr>
          <p:cNvSpPr/>
          <p:nvPr/>
        </p:nvSpPr>
        <p:spPr>
          <a:xfrm>
            <a:off x="224492" y="2511948"/>
            <a:ext cx="902098" cy="1943503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1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Stabilised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F668F5-7408-450E-A508-D3054401DE91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17" name="Graphic 16" descr="List">
              <a:hlinkClick r:id="rId3" action="ppaction://hlinksldjump"/>
              <a:extLst>
                <a:ext uri="{FF2B5EF4-FFF2-40B4-BE49-F238E27FC236}">
                  <a16:creationId xmlns:a16="http://schemas.microsoft.com/office/drawing/2014/main" id="{45814E4A-FC06-491B-8C90-9EB01F7BA4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0B3F6E5-B3EE-4A60-AABB-5CAB3AB738C5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9" name="Picture 18">
            <a:hlinkClick r:id="rId6" action="ppaction://hlinksldjump"/>
            <a:extLst>
              <a:ext uri="{FF2B5EF4-FFF2-40B4-BE49-F238E27FC236}">
                <a16:creationId xmlns:a16="http://schemas.microsoft.com/office/drawing/2014/main" id="{EABC29D6-ED5F-4940-BE9B-BF1217B86B0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0761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B8338-15AA-4399-AF76-59E48222E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162158"/>
            <a:ext cx="9625434" cy="457200"/>
          </a:xfrm>
        </p:spPr>
        <p:txBody>
          <a:bodyPr/>
          <a:lstStyle/>
          <a:p>
            <a:r>
              <a:rPr lang="en-GB"/>
              <a:t>TEOA – Operations Management System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471F33E-C86C-4C30-96F8-88FAE84D91D7}"/>
              </a:ext>
            </a:extLst>
          </p:cNvPr>
          <p:cNvGrpSpPr/>
          <p:nvPr/>
        </p:nvGrpSpPr>
        <p:grpSpPr>
          <a:xfrm>
            <a:off x="1342261" y="836019"/>
            <a:ext cx="9422778" cy="5394718"/>
            <a:chOff x="1462919" y="639043"/>
            <a:chExt cx="9422778" cy="5394718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D902559-18B2-4685-938D-EB770FA7F773}"/>
                </a:ext>
              </a:extLst>
            </p:cNvPr>
            <p:cNvSpPr/>
            <p:nvPr/>
          </p:nvSpPr>
          <p:spPr>
            <a:xfrm>
              <a:off x="1703486" y="2097920"/>
              <a:ext cx="8923255" cy="3073803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Isosceles Triangle 63">
              <a:extLst>
                <a:ext uri="{FF2B5EF4-FFF2-40B4-BE49-F238E27FC236}">
                  <a16:creationId xmlns:a16="http://schemas.microsoft.com/office/drawing/2014/main" id="{18EC9758-5400-4487-9264-B0E696F78070}"/>
                </a:ext>
              </a:extLst>
            </p:cNvPr>
            <p:cNvSpPr/>
            <p:nvPr/>
          </p:nvSpPr>
          <p:spPr>
            <a:xfrm>
              <a:off x="1705346" y="639043"/>
              <a:ext cx="8919264" cy="1477232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aphicFrame>
          <p:nvGraphicFramePr>
            <p:cNvPr id="65" name="Diagram 64">
              <a:extLst>
                <a:ext uri="{FF2B5EF4-FFF2-40B4-BE49-F238E27FC236}">
                  <a16:creationId xmlns:a16="http://schemas.microsoft.com/office/drawing/2014/main" id="{7FB7613B-57B2-4E7C-85A3-F19EE5DBFC4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093412365"/>
                </p:ext>
              </p:extLst>
            </p:nvPr>
          </p:nvGraphicFramePr>
          <p:xfrm>
            <a:off x="3776509" y="2610908"/>
            <a:ext cx="4396818" cy="252683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66" name="Arrow: Pentagon 65">
              <a:extLst>
                <a:ext uri="{FF2B5EF4-FFF2-40B4-BE49-F238E27FC236}">
                  <a16:creationId xmlns:a16="http://schemas.microsoft.com/office/drawing/2014/main" id="{36415829-67BE-4FB3-A9D2-1B5B5E125852}"/>
                </a:ext>
              </a:extLst>
            </p:cNvPr>
            <p:cNvSpPr/>
            <p:nvPr/>
          </p:nvSpPr>
          <p:spPr>
            <a:xfrm flipH="1">
              <a:off x="7841668" y="2117129"/>
              <a:ext cx="2811517" cy="3054594"/>
            </a:xfrm>
            <a:prstGeom prst="homePlate">
              <a:avLst>
                <a:gd name="adj" fmla="val 15929"/>
              </a:avLst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ical Excellence 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E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Arrow: Pentagon 66">
              <a:extLst>
                <a:ext uri="{FF2B5EF4-FFF2-40B4-BE49-F238E27FC236}">
                  <a16:creationId xmlns:a16="http://schemas.microsoft.com/office/drawing/2014/main" id="{2DCAB55E-07C8-4008-82E5-E59CB88C732E}"/>
                </a:ext>
              </a:extLst>
            </p:cNvPr>
            <p:cNvSpPr/>
            <p:nvPr/>
          </p:nvSpPr>
          <p:spPr>
            <a:xfrm>
              <a:off x="1672913" y="2117128"/>
              <a:ext cx="2811517" cy="3054595"/>
            </a:xfrm>
            <a:prstGeom prst="homePlate">
              <a:avLst>
                <a:gd name="adj" fmla="val 15929"/>
              </a:avLst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perational Excellence   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Lean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2FE26EC-0250-485C-93B7-1FFF2B86CA95}"/>
                </a:ext>
              </a:extLst>
            </p:cNvPr>
            <p:cNvSpPr/>
            <p:nvPr/>
          </p:nvSpPr>
          <p:spPr>
            <a:xfrm>
              <a:off x="8536430" y="3874325"/>
              <a:ext cx="1835304" cy="442129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rgbClr val="FFFFFF"/>
                  </a:solidFill>
                  <a:latin typeface="Arial"/>
                </a:rPr>
                <a:t>Ready to Deploy Projects </a:t>
              </a:r>
            </a:p>
          </p:txBody>
        </p:sp>
        <p:pic>
          <p:nvPicPr>
            <p:cNvPr id="69" name="Image 19">
              <a:extLst>
                <a:ext uri="{FF2B5EF4-FFF2-40B4-BE49-F238E27FC236}">
                  <a16:creationId xmlns:a16="http://schemas.microsoft.com/office/drawing/2014/main" id="{44208FCB-99FA-492D-9EDD-CC13EC03BA0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8248" y="3537769"/>
              <a:ext cx="1733991" cy="585588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ED5F7FCE-F1DC-4474-98D6-D2E4821E172F}"/>
                </a:ext>
              </a:extLst>
            </p:cNvPr>
            <p:cNvSpPr/>
            <p:nvPr/>
          </p:nvSpPr>
          <p:spPr>
            <a:xfrm>
              <a:off x="8536430" y="2767629"/>
              <a:ext cx="1835304" cy="442129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1200" dirty="0">
                  <a:solidFill>
                    <a:srgbClr val="FFFFFF"/>
                  </a:solidFill>
                  <a:latin typeface="Arial"/>
                </a:rPr>
                <a:t>Opportunity to TE Best</a:t>
              </a:r>
              <a:endParaRPr lang="en-US" dirty="0">
                <a:ea typeface="+mn-ea"/>
                <a:cs typeface="+mn-cs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EBA58425-C8E3-44E4-B392-EC18B87F567A}"/>
                </a:ext>
              </a:extLst>
            </p:cNvPr>
            <p:cNvSpPr/>
            <p:nvPr/>
          </p:nvSpPr>
          <p:spPr>
            <a:xfrm>
              <a:off x="8536430" y="3320977"/>
              <a:ext cx="1835304" cy="442129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1200" dirty="0">
                  <a:solidFill>
                    <a:srgbClr val="FFFFFF"/>
                  </a:solidFill>
                  <a:latin typeface="Arial"/>
                </a:rPr>
                <a:t>Process Excellence Frameworks</a:t>
              </a:r>
              <a:endParaRPr lang="en-US" dirty="0">
                <a:ea typeface="+mn-ea"/>
                <a:cs typeface="+mn-cs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42806F7-EF60-49BB-8B52-04308ECCFECA}"/>
                </a:ext>
              </a:extLst>
            </p:cNvPr>
            <p:cNvSpPr/>
            <p:nvPr/>
          </p:nvSpPr>
          <p:spPr>
            <a:xfrm>
              <a:off x="8536430" y="4427672"/>
              <a:ext cx="1835304" cy="442129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/>
                <a:defRPr/>
              </a:pPr>
              <a:r>
                <a:rPr lang="en-US" sz="1200" dirty="0">
                  <a:solidFill>
                    <a:srgbClr val="FFFFFF"/>
                  </a:solidFill>
                  <a:latin typeface="Arial"/>
                </a:rPr>
                <a:t>Technical Academies</a:t>
              </a:r>
              <a:endParaRPr lang="en-US" dirty="0">
                <a:ea typeface="+mn-ea"/>
                <a:cs typeface="+mn-cs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353DECDD-55EA-47EA-815A-93D815424310}"/>
                </a:ext>
              </a:extLst>
            </p:cNvPr>
            <p:cNvSpPr/>
            <p:nvPr/>
          </p:nvSpPr>
          <p:spPr>
            <a:xfrm>
              <a:off x="2024964" y="4548732"/>
              <a:ext cx="1835304" cy="32255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ue Stream Manage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Material and Master Planning)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CB646732-A826-4FA5-AEB3-0AB921C5AAD6}"/>
                </a:ext>
              </a:extLst>
            </p:cNvPr>
            <p:cNvSpPr/>
            <p:nvPr/>
          </p:nvSpPr>
          <p:spPr>
            <a:xfrm>
              <a:off x="2038799" y="3209773"/>
              <a:ext cx="1835304" cy="354119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ndard Work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21D1C05E-DF5C-4F22-A15A-C93A8F5A243F}"/>
                </a:ext>
              </a:extLst>
            </p:cNvPr>
            <p:cNvSpPr/>
            <p:nvPr/>
          </p:nvSpPr>
          <p:spPr>
            <a:xfrm>
              <a:off x="2038799" y="3653504"/>
              <a:ext cx="1835304" cy="354119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uick Changeover </a:t>
              </a: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EPEI)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79DA8B98-6F8A-4DB3-BD32-A264A7B5A5C6}"/>
                </a:ext>
              </a:extLst>
            </p:cNvPr>
            <p:cNvSpPr/>
            <p:nvPr/>
          </p:nvSpPr>
          <p:spPr>
            <a:xfrm>
              <a:off x="2030522" y="4097235"/>
              <a:ext cx="1835304" cy="361885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place Design </a:t>
              </a: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ell Design &amp; 3P)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7A99095D-25F2-45F0-8545-79682C70841A}"/>
                </a:ext>
              </a:extLst>
            </p:cNvPr>
            <p:cNvGrpSpPr/>
            <p:nvPr/>
          </p:nvGrpSpPr>
          <p:grpSpPr>
            <a:xfrm>
              <a:off x="4816239" y="833367"/>
              <a:ext cx="2571481" cy="960581"/>
              <a:chOff x="3216000" y="2353157"/>
              <a:chExt cx="5760000" cy="2151685"/>
            </a:xfrm>
          </p:grpSpPr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A4E6D1DE-3494-4F94-97C8-C0718544AA78}"/>
                  </a:ext>
                </a:extLst>
              </p:cNvPr>
              <p:cNvSpPr/>
              <p:nvPr/>
            </p:nvSpPr>
            <p:spPr>
              <a:xfrm>
                <a:off x="6847304" y="2751797"/>
                <a:ext cx="2128696" cy="1303399"/>
              </a:xfrm>
              <a:prstGeom prst="ellipse">
                <a:avLst/>
              </a:prstGeom>
              <a:solidFill>
                <a:srgbClr val="E8E8E8"/>
              </a:solidFill>
              <a:ln w="25400" cap="flat" cmpd="sng" algn="ctr">
                <a:solidFill>
                  <a:srgbClr val="E98300"/>
                </a:solidFill>
                <a:prstDash val="solid"/>
                <a:miter lim="800000"/>
              </a:ln>
              <a:effectLst/>
            </p:spPr>
            <p:txBody>
              <a:bodyPr wrap="none"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5029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4767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IGHLY ENGAGED</a:t>
                </a:r>
                <a:b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4767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4767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MPLOYEES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F5DDE5DC-ADB7-4C50-BC51-0CE71B0F1ED4}"/>
                  </a:ext>
                </a:extLst>
              </p:cNvPr>
              <p:cNvSpPr/>
              <p:nvPr/>
            </p:nvSpPr>
            <p:spPr>
              <a:xfrm>
                <a:off x="3216000" y="2757489"/>
                <a:ext cx="2128696" cy="1303399"/>
              </a:xfrm>
              <a:prstGeom prst="ellipse">
                <a:avLst/>
              </a:prstGeom>
              <a:solidFill>
                <a:srgbClr val="E8E8E8"/>
              </a:solidFill>
              <a:ln w="25400" cap="flat" cmpd="sng" algn="ctr">
                <a:solidFill>
                  <a:srgbClr val="E98300"/>
                </a:solidFill>
                <a:prstDash val="solid"/>
                <a:miter lim="800000"/>
              </a:ln>
              <a:effectLst/>
            </p:spPr>
            <p:txBody>
              <a:bodyPr wrap="none"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5029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4767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EMIER PARTNER</a:t>
                </a:r>
                <a:b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4767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4767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OR OUR CUSTOMERS</a:t>
                </a: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8105E5E6-EF94-4E76-B32E-750C38D06919}"/>
                  </a:ext>
                </a:extLst>
              </p:cNvPr>
              <p:cNvSpPr/>
              <p:nvPr/>
            </p:nvSpPr>
            <p:spPr>
              <a:xfrm>
                <a:off x="5031653" y="3201442"/>
                <a:ext cx="2128696" cy="1303400"/>
              </a:xfrm>
              <a:prstGeom prst="ellipse">
                <a:avLst/>
              </a:prstGeom>
              <a:solidFill>
                <a:srgbClr val="E8E8E8"/>
              </a:solidFill>
              <a:ln w="25400" cap="flat" cmpd="sng" algn="ctr">
                <a:solidFill>
                  <a:srgbClr val="E98300"/>
                </a:solidFill>
                <a:prstDash val="solid"/>
                <a:miter lim="800000"/>
              </a:ln>
              <a:effectLst>
                <a:outerShdw blurRad="101600" dist="50800" dir="2700000" algn="tl" rotWithShape="0">
                  <a:prstClr val="black">
                    <a:alpha val="20000"/>
                  </a:prstClr>
                </a:outerShdw>
              </a:effectLst>
            </p:spPr>
            <p:txBody>
              <a:bodyPr wrap="none"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5029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4767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UPERIOR RETURNS</a:t>
                </a:r>
                <a:b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4767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4767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OR OUR</a:t>
                </a:r>
              </a:p>
              <a:p>
                <a:pPr marL="0" marR="0" lvl="0" indent="0" algn="ctr" defTabSz="5029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47678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SHAREHOLDERS</a:t>
                </a:r>
              </a:p>
            </p:txBody>
          </p:sp>
          <p:pic>
            <p:nvPicPr>
              <p:cNvPr id="100" name="Picture 99">
                <a:extLst>
                  <a:ext uri="{FF2B5EF4-FFF2-40B4-BE49-F238E27FC236}">
                    <a16:creationId xmlns:a16="http://schemas.microsoft.com/office/drawing/2014/main" id="{FE615F82-AE13-4423-9760-7D238B5653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37335" y="2353157"/>
                <a:ext cx="1317636" cy="754543"/>
              </a:xfrm>
              <a:prstGeom prst="rect">
                <a:avLst/>
              </a:prstGeom>
            </p:spPr>
          </p:pic>
        </p:grp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3FCC07AC-49A8-4FDF-91D4-FE3DC5B27452}"/>
                </a:ext>
              </a:extLst>
            </p:cNvPr>
            <p:cNvSpPr/>
            <p:nvPr/>
          </p:nvSpPr>
          <p:spPr>
            <a:xfrm>
              <a:off x="2030522" y="2760824"/>
              <a:ext cx="1835304" cy="359337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ilt in Quality </a:t>
              </a: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 Problem Solving MP, QCPC)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28448C1-0881-45F5-958B-D1EF8E4F7EC3}"/>
                </a:ext>
              </a:extLst>
            </p:cNvPr>
            <p:cNvSpPr/>
            <p:nvPr/>
          </p:nvSpPr>
          <p:spPr>
            <a:xfrm>
              <a:off x="1672914" y="5172576"/>
              <a:ext cx="8980274" cy="4337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fine Strategy and Develop Talent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19AE2E8F-120B-49C4-A59F-70FDAF94F84C}"/>
                </a:ext>
              </a:extLst>
            </p:cNvPr>
            <p:cNvSpPr/>
            <p:nvPr/>
          </p:nvSpPr>
          <p:spPr>
            <a:xfrm>
              <a:off x="1462919" y="5601774"/>
              <a:ext cx="9422778" cy="4319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ate Stability &amp; Culture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EH&amp;S, Quality Foundations, 5S&amp; Visual Management, TPM, PIM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CB7364C3-9CA1-406B-9081-176BD774BD42}"/>
                </a:ext>
              </a:extLst>
            </p:cNvPr>
            <p:cNvSpPr txBox="1"/>
            <p:nvPr/>
          </p:nvSpPr>
          <p:spPr>
            <a:xfrm>
              <a:off x="5141833" y="1811169"/>
              <a:ext cx="204242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lanced Scorecard (KPIs)</a:t>
              </a:r>
            </a:p>
          </p:txBody>
        </p: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33ABDB5C-B027-4101-A16A-AA6BF8C9D246}"/>
                </a:ext>
              </a:extLst>
            </p:cNvPr>
            <p:cNvSpPr/>
            <p:nvPr/>
          </p:nvSpPr>
          <p:spPr>
            <a:xfrm>
              <a:off x="5288042" y="2128701"/>
              <a:ext cx="1774197" cy="304931"/>
            </a:xfrm>
            <a:prstGeom prst="roundRect">
              <a:avLst/>
            </a:prstGeom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rgbClr val="E98300">
                  <a:shade val="80000"/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nsformation</a:t>
              </a:r>
            </a:p>
          </p:txBody>
        </p:sp>
      </p:grpSp>
      <p:sp>
        <p:nvSpPr>
          <p:cNvPr id="101" name="Star: 5 Points 100">
            <a:extLst>
              <a:ext uri="{FF2B5EF4-FFF2-40B4-BE49-F238E27FC236}">
                <a16:creationId xmlns:a16="http://schemas.microsoft.com/office/drawing/2014/main" id="{5D48D9D5-62DD-4E9D-90A2-B7B9A933CB6C}"/>
              </a:ext>
            </a:extLst>
          </p:cNvPr>
          <p:cNvSpPr/>
          <p:nvPr/>
        </p:nvSpPr>
        <p:spPr>
          <a:xfrm>
            <a:off x="853193" y="2464720"/>
            <a:ext cx="243889" cy="232855"/>
          </a:xfrm>
          <a:prstGeom prst="star5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Star: 5 Points 101">
            <a:extLst>
              <a:ext uri="{FF2B5EF4-FFF2-40B4-BE49-F238E27FC236}">
                <a16:creationId xmlns:a16="http://schemas.microsoft.com/office/drawing/2014/main" id="{2BF4F5C1-FAC9-4C68-A41A-D0E90C1A658E}"/>
              </a:ext>
            </a:extLst>
          </p:cNvPr>
          <p:cNvSpPr/>
          <p:nvPr/>
        </p:nvSpPr>
        <p:spPr>
          <a:xfrm>
            <a:off x="392006" y="2159696"/>
            <a:ext cx="243889" cy="232855"/>
          </a:xfrm>
          <a:prstGeom prst="star5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Star: 5 Points 102">
            <a:extLst>
              <a:ext uri="{FF2B5EF4-FFF2-40B4-BE49-F238E27FC236}">
                <a16:creationId xmlns:a16="http://schemas.microsoft.com/office/drawing/2014/main" id="{BCAB81EF-0191-4093-9F6C-A03A6FEFFB96}"/>
              </a:ext>
            </a:extLst>
          </p:cNvPr>
          <p:cNvSpPr/>
          <p:nvPr/>
        </p:nvSpPr>
        <p:spPr>
          <a:xfrm>
            <a:off x="701969" y="2159696"/>
            <a:ext cx="243889" cy="232855"/>
          </a:xfrm>
          <a:prstGeom prst="star5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Star: 5 Points 103">
            <a:extLst>
              <a:ext uri="{FF2B5EF4-FFF2-40B4-BE49-F238E27FC236}">
                <a16:creationId xmlns:a16="http://schemas.microsoft.com/office/drawing/2014/main" id="{7CE6F91A-45EF-40C6-A35C-D5FA28A37F82}"/>
              </a:ext>
            </a:extLst>
          </p:cNvPr>
          <p:cNvSpPr/>
          <p:nvPr/>
        </p:nvSpPr>
        <p:spPr>
          <a:xfrm>
            <a:off x="543229" y="2464720"/>
            <a:ext cx="243889" cy="232855"/>
          </a:xfrm>
          <a:prstGeom prst="star5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Arrow: Right 104">
            <a:extLst>
              <a:ext uri="{FF2B5EF4-FFF2-40B4-BE49-F238E27FC236}">
                <a16:creationId xmlns:a16="http://schemas.microsoft.com/office/drawing/2014/main" id="{67200A13-48A3-4F43-9E87-6FB8A6B3EF35}"/>
              </a:ext>
            </a:extLst>
          </p:cNvPr>
          <p:cNvSpPr/>
          <p:nvPr/>
        </p:nvSpPr>
        <p:spPr>
          <a:xfrm rot="16200000">
            <a:off x="-107537" y="3439823"/>
            <a:ext cx="1817620" cy="596888"/>
          </a:xfrm>
          <a:prstGeom prst="rightArrow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Star: 5 Points 105">
            <a:extLst>
              <a:ext uri="{FF2B5EF4-FFF2-40B4-BE49-F238E27FC236}">
                <a16:creationId xmlns:a16="http://schemas.microsoft.com/office/drawing/2014/main" id="{B8B5B868-102F-41C5-AE56-7F829F93F4D0}"/>
              </a:ext>
            </a:extLst>
          </p:cNvPr>
          <p:cNvSpPr/>
          <p:nvPr/>
        </p:nvSpPr>
        <p:spPr>
          <a:xfrm>
            <a:off x="672321" y="4747705"/>
            <a:ext cx="243889" cy="232855"/>
          </a:xfrm>
          <a:prstGeom prst="star5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Star: 5 Points 106">
            <a:extLst>
              <a:ext uri="{FF2B5EF4-FFF2-40B4-BE49-F238E27FC236}">
                <a16:creationId xmlns:a16="http://schemas.microsoft.com/office/drawing/2014/main" id="{F61A874A-67CC-4729-9832-56EB1603AF27}"/>
              </a:ext>
            </a:extLst>
          </p:cNvPr>
          <p:cNvSpPr/>
          <p:nvPr/>
        </p:nvSpPr>
        <p:spPr>
          <a:xfrm>
            <a:off x="982285" y="4747705"/>
            <a:ext cx="243889" cy="232855"/>
          </a:xfrm>
          <a:prstGeom prst="star5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Star: 5 Points 107">
            <a:extLst>
              <a:ext uri="{FF2B5EF4-FFF2-40B4-BE49-F238E27FC236}">
                <a16:creationId xmlns:a16="http://schemas.microsoft.com/office/drawing/2014/main" id="{DEE0B68A-FC1F-4EB3-A0E5-9EF2FCB2BB92}"/>
              </a:ext>
            </a:extLst>
          </p:cNvPr>
          <p:cNvSpPr/>
          <p:nvPr/>
        </p:nvSpPr>
        <p:spPr>
          <a:xfrm>
            <a:off x="362357" y="4747705"/>
            <a:ext cx="243889" cy="232855"/>
          </a:xfrm>
          <a:prstGeom prst="star5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Star: 5 Points 108">
            <a:extLst>
              <a:ext uri="{FF2B5EF4-FFF2-40B4-BE49-F238E27FC236}">
                <a16:creationId xmlns:a16="http://schemas.microsoft.com/office/drawing/2014/main" id="{B9E6E8FA-A26F-48BB-9815-8AEEBD163B4B}"/>
              </a:ext>
            </a:extLst>
          </p:cNvPr>
          <p:cNvSpPr/>
          <p:nvPr/>
        </p:nvSpPr>
        <p:spPr>
          <a:xfrm>
            <a:off x="513911" y="5389687"/>
            <a:ext cx="243889" cy="232855"/>
          </a:xfrm>
          <a:prstGeom prst="star5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Star: 5 Points 109">
            <a:extLst>
              <a:ext uri="{FF2B5EF4-FFF2-40B4-BE49-F238E27FC236}">
                <a16:creationId xmlns:a16="http://schemas.microsoft.com/office/drawing/2014/main" id="{CA193E6E-1305-4FD4-BC40-8FACAC93F5EB}"/>
              </a:ext>
            </a:extLst>
          </p:cNvPr>
          <p:cNvSpPr/>
          <p:nvPr/>
        </p:nvSpPr>
        <p:spPr>
          <a:xfrm>
            <a:off x="823874" y="5389687"/>
            <a:ext cx="243889" cy="232855"/>
          </a:xfrm>
          <a:prstGeom prst="star5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Star: 5 Points 110">
            <a:extLst>
              <a:ext uri="{FF2B5EF4-FFF2-40B4-BE49-F238E27FC236}">
                <a16:creationId xmlns:a16="http://schemas.microsoft.com/office/drawing/2014/main" id="{3ECE8DA2-1DB7-4754-8FAD-1E35E484F09C}"/>
              </a:ext>
            </a:extLst>
          </p:cNvPr>
          <p:cNvSpPr/>
          <p:nvPr/>
        </p:nvSpPr>
        <p:spPr>
          <a:xfrm>
            <a:off x="674506" y="5949849"/>
            <a:ext cx="243889" cy="232855"/>
          </a:xfrm>
          <a:prstGeom prst="star5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Star: 5 Points 111">
            <a:extLst>
              <a:ext uri="{FF2B5EF4-FFF2-40B4-BE49-F238E27FC236}">
                <a16:creationId xmlns:a16="http://schemas.microsoft.com/office/drawing/2014/main" id="{8D70D56F-3894-4FB9-9031-8907A2CC6EE2}"/>
              </a:ext>
            </a:extLst>
          </p:cNvPr>
          <p:cNvSpPr/>
          <p:nvPr/>
        </p:nvSpPr>
        <p:spPr>
          <a:xfrm>
            <a:off x="996959" y="2159696"/>
            <a:ext cx="243889" cy="232855"/>
          </a:xfrm>
          <a:prstGeom prst="star5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4745F1AD-F2CD-4116-AC8A-10F275F55820}"/>
              </a:ext>
            </a:extLst>
          </p:cNvPr>
          <p:cNvSpPr/>
          <p:nvPr/>
        </p:nvSpPr>
        <p:spPr>
          <a:xfrm>
            <a:off x="10434832" y="1152099"/>
            <a:ext cx="1474959" cy="34883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 Level Criteria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1E05A5D1-DB95-4232-A351-B27A31D38604}"/>
              </a:ext>
            </a:extLst>
          </p:cNvPr>
          <p:cNvSpPr txBox="1"/>
          <p:nvPr/>
        </p:nvSpPr>
        <p:spPr>
          <a:xfrm>
            <a:off x="10394633" y="816383"/>
            <a:ext cx="5188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95BEF619-A981-493F-9636-1BD835D8219C}"/>
              </a:ext>
            </a:extLst>
          </p:cNvPr>
          <p:cNvSpPr/>
          <p:nvPr/>
        </p:nvSpPr>
        <p:spPr>
          <a:xfrm>
            <a:off x="10434831" y="1540228"/>
            <a:ext cx="1474959" cy="34883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ormational Tool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A7E13D6-B337-4721-BD32-A66D956D2AA8}"/>
              </a:ext>
            </a:extLst>
          </p:cNvPr>
          <p:cNvSpPr txBox="1"/>
          <p:nvPr/>
        </p:nvSpPr>
        <p:spPr>
          <a:xfrm>
            <a:off x="4131406" y="6302453"/>
            <a:ext cx="46501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>
                    <a:alpha val="34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 Construction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>
                    <a:alpha val="34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1</a:t>
            </a:r>
            <a:r>
              <a:rPr kumimoji="0" lang="en-GB" sz="900" b="1" i="0" u="none" strike="noStrike" kern="1200" cap="none" spc="0" normalizeH="0" baseline="30000" noProof="0" dirty="0">
                <a:ln>
                  <a:noFill/>
                </a:ln>
                <a:solidFill>
                  <a:srgbClr val="FF0000">
                    <a:alpha val="34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>
                    <a:alpha val="34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uly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srgbClr val="FF0000">
                  <a:alpha val="34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DA0C9A-8595-4A13-9CF2-551E4D9D1145}"/>
              </a:ext>
            </a:extLst>
          </p:cNvPr>
          <p:cNvSpPr/>
          <p:nvPr/>
        </p:nvSpPr>
        <p:spPr>
          <a:xfrm>
            <a:off x="8844742" y="5798750"/>
            <a:ext cx="504305" cy="431987"/>
          </a:xfrm>
          <a:prstGeom prst="rect">
            <a:avLst/>
          </a:prstGeom>
          <a:solidFill>
            <a:schemeClr val="accent6">
              <a:alpha val="2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31160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95FA48-BBE1-4738-B070-9A8D28CAD1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GB"/>
            </a:br>
            <a:r>
              <a:rPr lang="en-GB"/>
              <a:t>TPM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57293B78-A754-4EF7-873B-BD516E25D7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8345" y="4673658"/>
            <a:ext cx="4133088" cy="147314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altLang="nl-BE" sz="1600" dirty="0">
                <a:solidFill>
                  <a:schemeClr val="bg1"/>
                </a:solidFill>
              </a:rPr>
              <a:t>Total Productive Maintenance (TPM) restores equipment to ‘line-new’ condition and engages workers in continuous improvement efforts to reduce machine down time and ensure maximum machine availability</a:t>
            </a:r>
            <a:endParaRPr lang="en-GB" sz="1600" i="1" dirty="0">
              <a:solidFill>
                <a:schemeClr val="bg1"/>
              </a:solidFill>
            </a:endParaRPr>
          </a:p>
        </p:txBody>
      </p:sp>
      <p:pic>
        <p:nvPicPr>
          <p:cNvPr id="11" name="Grafik 11" descr="Ein Bild, das Person, Gebäude, Mann, suchend enthält.&#10;&#10;Beschreibung automatisch generiert.">
            <a:extLst>
              <a:ext uri="{FF2B5EF4-FFF2-40B4-BE49-F238E27FC236}">
                <a16:creationId xmlns:a16="http://schemas.microsoft.com/office/drawing/2014/main" id="{DF0A300E-9DB9-4894-973D-021A5A516DD2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8" name="Content Placeholder 3">
            <a:extLst>
              <a:ext uri="{FF2B5EF4-FFF2-40B4-BE49-F238E27FC236}">
                <a16:creationId xmlns:a16="http://schemas.microsoft.com/office/drawing/2014/main" id="{5620699D-1083-4A10-BD38-5066E3065F3F}"/>
              </a:ext>
            </a:extLst>
          </p:cNvPr>
          <p:cNvPicPr>
            <a:picLocks noGrp="1" noChangeAspect="1"/>
          </p:cNvPicPr>
          <p:nvPr>
            <p:ph type="pic" idx="429496729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76800" y="0"/>
            <a:ext cx="7315200" cy="685800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9730276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605BFB-9DD7-4EE4-94BB-A42D583978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36281" y="900578"/>
            <a:ext cx="5904953" cy="4753670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finition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is the Purpose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y Use it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Implement TPM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AutoNum type="arabicPeriod"/>
            </a:pPr>
            <a:r>
              <a:rPr lang="en-US" sz="2000" b="1" dirty="0">
                <a:cs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st Practice Examples for TPM</a:t>
            </a:r>
            <a:endParaRPr lang="en-US" sz="2000" b="1" dirty="0">
              <a:cs typeface="Arial"/>
            </a:endParaRPr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en-US" sz="2000" b="1" dirty="0">
                <a:cs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DP repository on TPM</a:t>
            </a:r>
            <a:endParaRPr lang="en-US" sz="2000" b="1" dirty="0">
              <a:cs typeface="Arial"/>
            </a:endParaRPr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en-US" sz="2000" b="1" dirty="0">
                <a:cs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PM Diagnostic Questions</a:t>
            </a:r>
            <a:endParaRPr lang="en-US" sz="2000" b="1" dirty="0"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BC577F-832B-45E1-9A3C-2459BBD9A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5050" y="278794"/>
            <a:ext cx="9239248" cy="457200"/>
          </a:xfrm>
        </p:spPr>
        <p:txBody>
          <a:bodyPr/>
          <a:lstStyle/>
          <a:p>
            <a:r>
              <a:rPr lang="en-GB"/>
              <a:t>TPM Overview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AACB72B-7C19-4913-BAA1-B40AB19D6E0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54501" y="1251634"/>
            <a:ext cx="4267202" cy="4007551"/>
          </a:xfr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/>
            <a:r>
              <a:rPr lang="en-GB" b="1">
                <a:solidFill>
                  <a:schemeClr val="bg1"/>
                </a:solidFill>
              </a:rPr>
              <a:t>In this Playboo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1"/>
                </a:solidFill>
              </a:rPr>
              <a:t>A </a:t>
            </a:r>
            <a:r>
              <a:rPr lang="en-GB" b="1">
                <a:solidFill>
                  <a:schemeClr val="bg2"/>
                </a:solidFill>
              </a:rPr>
              <a:t>definition </a:t>
            </a:r>
            <a:r>
              <a:rPr lang="en-GB">
                <a:solidFill>
                  <a:schemeClr val="bg1"/>
                </a:solidFill>
              </a:rPr>
              <a:t>of what is TP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1"/>
                </a:solidFill>
              </a:rPr>
              <a:t>What is the </a:t>
            </a:r>
            <a:r>
              <a:rPr lang="en-GB" b="1">
                <a:solidFill>
                  <a:schemeClr val="bg2"/>
                </a:solidFill>
              </a:rPr>
              <a:t>Purpose</a:t>
            </a:r>
            <a:r>
              <a:rPr lang="en-GB">
                <a:solidFill>
                  <a:schemeClr val="bg1"/>
                </a:solidFill>
              </a:rPr>
              <a:t> of TP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bg2"/>
                </a:solidFill>
              </a:rPr>
              <a:t>Why use </a:t>
            </a:r>
            <a:r>
              <a:rPr lang="en-GB">
                <a:solidFill>
                  <a:schemeClr val="bg1"/>
                </a:solidFill>
              </a:rPr>
              <a:t>TP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1"/>
                </a:solidFill>
              </a:rPr>
              <a:t>How to </a:t>
            </a:r>
            <a:r>
              <a:rPr lang="en-GB" b="1">
                <a:solidFill>
                  <a:schemeClr val="bg2"/>
                </a:solidFill>
              </a:rPr>
              <a:t>implement </a:t>
            </a:r>
            <a:r>
              <a:rPr lang="en-GB">
                <a:solidFill>
                  <a:schemeClr val="bg1"/>
                </a:solidFill>
              </a:rPr>
              <a:t>TPM with </a:t>
            </a:r>
            <a:r>
              <a:rPr lang="en-GB" b="1">
                <a:solidFill>
                  <a:schemeClr val="bg2"/>
                </a:solidFill>
              </a:rPr>
              <a:t>training materials &amp; best pract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FE4249-E42B-454F-A235-07E41E0F82C6}"/>
              </a:ext>
            </a:extLst>
          </p:cNvPr>
          <p:cNvSpPr/>
          <p:nvPr/>
        </p:nvSpPr>
        <p:spPr>
          <a:xfrm>
            <a:off x="2837352" y="6045290"/>
            <a:ext cx="59683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>
                <a:solidFill>
                  <a:schemeClr val="accent6"/>
                </a:solidFill>
              </a:rPr>
              <a:t>Note: Click on the links above to quickly access the topic</a:t>
            </a:r>
          </a:p>
        </p:txBody>
      </p:sp>
      <p:pic>
        <p:nvPicPr>
          <p:cNvPr id="11" name="Graphic 10" descr="Speech">
            <a:extLst>
              <a:ext uri="{FF2B5EF4-FFF2-40B4-BE49-F238E27FC236}">
                <a16:creationId xmlns:a16="http://schemas.microsoft.com/office/drawing/2014/main" id="{094B9AD3-0661-4D62-B47A-73A24DADC5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138852" y="5880706"/>
            <a:ext cx="698500" cy="698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65F6FFD-DD2A-4AE3-BCF0-D234370A9ED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7817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E0B4ADF-CEFB-40EB-8039-7E47DA62E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9" y="201459"/>
            <a:ext cx="9829800" cy="457200"/>
          </a:xfrm>
        </p:spPr>
        <p:txBody>
          <a:bodyPr/>
          <a:lstStyle/>
          <a:p>
            <a:r>
              <a:rPr lang="en-GB" dirty="0"/>
              <a:t>1. TPM Defini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CE8901-5E54-4A6D-A8CB-D333F4CB211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40374" y="756550"/>
            <a:ext cx="11160000" cy="1199250"/>
          </a:xfrm>
        </p:spPr>
        <p:txBody>
          <a:bodyPr/>
          <a:lstStyle/>
          <a:p>
            <a:r>
              <a:rPr lang="en-US" altLang="nl-BE" sz="2000" dirty="0"/>
              <a:t>Total Productive Maintenance (TPM) restores equipment to ‘line-new’ condition and engages workers in continuous improvement efforts to reduce machine down time and ensure maximum machine availability.</a:t>
            </a:r>
          </a:p>
          <a:p>
            <a:endParaRPr lang="en-GB" sz="200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822949-1C41-4C7F-AC23-6AAAF0EFB6E8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12" name="Graphic 11" descr="List">
              <a:hlinkClick r:id="rId2" action="ppaction://hlinksldjump"/>
              <a:extLst>
                <a:ext uri="{FF2B5EF4-FFF2-40B4-BE49-F238E27FC236}">
                  <a16:creationId xmlns:a16="http://schemas.microsoft.com/office/drawing/2014/main" id="{9464C59C-8545-469E-B81C-5E082F524A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8BABFA0-885D-474D-ABAA-16804754D269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4" name="Picture 13">
            <a:hlinkClick r:id="rId5" action="ppaction://hlinksldjump"/>
            <a:extLst>
              <a:ext uri="{FF2B5EF4-FFF2-40B4-BE49-F238E27FC236}">
                <a16:creationId xmlns:a16="http://schemas.microsoft.com/office/drawing/2014/main" id="{CBCF77F2-C586-4FF5-841F-DCD712DD1D7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7DF5FE3-EA40-46CF-8566-B99E10CCA4A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4818" y="2210982"/>
            <a:ext cx="2726464" cy="363528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53AD6BD-8DFB-4F44-AAE5-4492E30C882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829" y="2210982"/>
            <a:ext cx="5610225" cy="3635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2510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47A6D8-32C2-445A-8DBC-A634BB0A4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669" y="218016"/>
            <a:ext cx="9829800" cy="457200"/>
          </a:xfrm>
        </p:spPr>
        <p:txBody>
          <a:bodyPr/>
          <a:lstStyle/>
          <a:p>
            <a:r>
              <a:rPr lang="en-GB" dirty="0"/>
              <a:t>2. What is the Purpose of TP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751A7-9454-47A8-B1C1-4DBB17EAE70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20862" y="879862"/>
            <a:ext cx="11160000" cy="4989957"/>
          </a:xfrm>
        </p:spPr>
        <p:txBody>
          <a:bodyPr/>
          <a:lstStyle/>
          <a:p>
            <a:r>
              <a:rPr lang="en-GB" sz="2400" dirty="0"/>
              <a:t>TPM is an approach to equipment maintenance that aims t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Restore equipment to “</a:t>
            </a:r>
            <a:r>
              <a:rPr lang="en-GB" sz="2400" b="1" dirty="0"/>
              <a:t>like new</a:t>
            </a:r>
            <a:r>
              <a:rPr lang="en-GB" sz="2400" dirty="0"/>
              <a:t>” cond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Determine the </a:t>
            </a:r>
            <a:r>
              <a:rPr lang="en-GB" sz="2400" b="1" dirty="0"/>
              <a:t>appropriate maintenance strategy </a:t>
            </a:r>
            <a:r>
              <a:rPr lang="en-GB" sz="2400" dirty="0"/>
              <a:t>for equipment based on criticality (time based maintenance, preventative maintenance, predictive maintenance, condition based monitori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/>
              <a:t>Maximize equipment effectiveness </a:t>
            </a:r>
            <a:r>
              <a:rPr lang="en-GB" sz="2400" dirty="0"/>
              <a:t>(speed, availability, utilization, qual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involve production, engineering, quality and maintenance departments and all levels of the organization in maintenance activ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The TPM Process should be used </a:t>
            </a:r>
            <a:r>
              <a:rPr lang="en-GB" sz="2400" b="1" dirty="0"/>
              <a:t>on all equipment that impacts production</a:t>
            </a:r>
            <a:r>
              <a:rPr lang="en-GB" sz="2400" dirty="0"/>
              <a:t>. This includes actual production equipment (assembly machines, stamping presses, plating lines, etc.). It also includes building infrastructure equipment (air compressors, HVAC, critical electrical and water processing equipment)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E659946-92BB-4AA4-ADE7-DB4F1F9140F9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10" name="Graphic 9" descr="List">
              <a:hlinkClick r:id="rId2" action="ppaction://hlinksldjump"/>
              <a:extLst>
                <a:ext uri="{FF2B5EF4-FFF2-40B4-BE49-F238E27FC236}">
                  <a16:creationId xmlns:a16="http://schemas.microsoft.com/office/drawing/2014/main" id="{5A0C8D66-D6E6-497E-9166-8F9AECCF4C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0B70341-B3C8-419D-998C-652B225C2764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2" name="Picture 11">
            <a:hlinkClick r:id="rId5" action="ppaction://hlinksldjump"/>
            <a:extLst>
              <a:ext uri="{FF2B5EF4-FFF2-40B4-BE49-F238E27FC236}">
                <a16:creationId xmlns:a16="http://schemas.microsoft.com/office/drawing/2014/main" id="{85B5F4E1-2A0A-4821-A387-2F874EFFEFE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0266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47A6D8-32C2-445A-8DBC-A634BB0A4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669" y="218016"/>
            <a:ext cx="9829800" cy="457200"/>
          </a:xfrm>
        </p:spPr>
        <p:txBody>
          <a:bodyPr/>
          <a:lstStyle/>
          <a:p>
            <a:r>
              <a:rPr lang="en-GB" dirty="0"/>
              <a:t>2. What is the Purpose of TP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751A7-9454-47A8-B1C1-4DBB17EAE70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99136" y="822146"/>
            <a:ext cx="11305184" cy="5371133"/>
          </a:xfrm>
        </p:spPr>
        <p:txBody>
          <a:bodyPr vert="horz" lIns="0" tIns="0" rIns="0" bIns="0" rtlCol="0">
            <a:noAutofit/>
          </a:bodyPr>
          <a:lstStyle/>
          <a:p>
            <a:r>
              <a:rPr lang="en-GB" sz="1800" b="1" dirty="0"/>
              <a:t>Maintenance types:</a:t>
            </a:r>
          </a:p>
          <a:p>
            <a:r>
              <a:rPr lang="en-GB" sz="1800" b="1" dirty="0"/>
              <a:t>Autonomous Maintenance:</a:t>
            </a:r>
          </a:p>
          <a:p>
            <a:pPr marL="742950" lvl="1" indent="-285750"/>
            <a:r>
              <a:rPr lang="en-GB" sz="1600" dirty="0"/>
              <a:t>“Independent” maintenance carried out by the operators of the machines or tools, rather than by dedicated maintenance technicians.</a:t>
            </a:r>
          </a:p>
          <a:p>
            <a:r>
              <a:rPr lang="en-GB" sz="1800" b="1" dirty="0"/>
              <a:t>Corrective Maintenance:</a:t>
            </a:r>
          </a:p>
          <a:p>
            <a:pPr marL="742950" lvl="1" indent="-285750"/>
            <a:r>
              <a:rPr lang="en-GB" sz="1600" dirty="0"/>
              <a:t>Maintenance performed after a breakdown detection, always connected with correction and restart of production.</a:t>
            </a:r>
          </a:p>
          <a:p>
            <a:pPr marL="742950" lvl="1" indent="-285750"/>
            <a:r>
              <a:rPr lang="en-GB" sz="1600" dirty="0"/>
              <a:t> Purpose: Ensure the re-start of the equipment as soon as possible (even with degraded solutions)</a:t>
            </a:r>
          </a:p>
          <a:p>
            <a:r>
              <a:rPr lang="en-GB" sz="1800" b="1" dirty="0"/>
              <a:t>Preventive Maintenance:</a:t>
            </a:r>
          </a:p>
          <a:p>
            <a:pPr marL="742950" lvl="1" indent="-285750"/>
            <a:r>
              <a:rPr lang="en-GB" sz="1600" dirty="0"/>
              <a:t>Maintenance performed according to predefined frequencies or criteria (number of cycles, risk caused by the breakdowns …)</a:t>
            </a:r>
          </a:p>
          <a:p>
            <a:pPr marL="742950" lvl="1" indent="-285750"/>
            <a:r>
              <a:rPr lang="en-GB" sz="1600" dirty="0"/>
              <a:t>Purpose: Reduce the probability of breakdowns or the wear out of the equipment.</a:t>
            </a:r>
          </a:p>
          <a:p>
            <a:pPr marL="1152525" lvl="2" indent="-285750"/>
            <a:r>
              <a:rPr lang="en-GB" sz="1400" dirty="0"/>
              <a:t>Example: grinding, cleaning, replacement of spare parts.</a:t>
            </a:r>
          </a:p>
          <a:p>
            <a:r>
              <a:rPr lang="en-GB" sz="1800" b="1" dirty="0"/>
              <a:t>Predictive maintenance (Condition Based Maintenance):</a:t>
            </a:r>
          </a:p>
          <a:p>
            <a:pPr marL="742950" lvl="1" indent="-285750"/>
            <a:r>
              <a:rPr lang="en-GB" sz="1600" dirty="0"/>
              <a:t>Maintenance based on the measurement of key parameters on the equipment</a:t>
            </a:r>
          </a:p>
          <a:p>
            <a:pPr marL="1152525" lvl="2" indent="-285750"/>
            <a:r>
              <a:rPr lang="en-GB" sz="1400" dirty="0"/>
              <a:t>Example: vibration analysis on rotating machines, fluids analysis, thermography on electrical equipment, tool maintenance before start of Production Order  (measurement of spare parts), check of pressure in the tool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E659946-92BB-4AA4-ADE7-DB4F1F9140F9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10" name="Graphic 9" descr="List">
              <a:hlinkClick r:id="rId2" action="ppaction://hlinksldjump"/>
              <a:extLst>
                <a:ext uri="{FF2B5EF4-FFF2-40B4-BE49-F238E27FC236}">
                  <a16:creationId xmlns:a16="http://schemas.microsoft.com/office/drawing/2014/main" id="{5A0C8D66-D6E6-497E-9166-8F9AECCF4C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0B70341-B3C8-419D-998C-652B225C2764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2" name="Picture 11">
            <a:hlinkClick r:id="rId5" action="ppaction://hlinksldjump"/>
            <a:extLst>
              <a:ext uri="{FF2B5EF4-FFF2-40B4-BE49-F238E27FC236}">
                <a16:creationId xmlns:a16="http://schemas.microsoft.com/office/drawing/2014/main" id="{85B5F4E1-2A0A-4821-A387-2F874EFFEFE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30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569DD-3A19-4113-8A30-2A914D8BD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669" y="184765"/>
            <a:ext cx="9829800" cy="457200"/>
          </a:xfrm>
        </p:spPr>
        <p:txBody>
          <a:bodyPr/>
          <a:lstStyle/>
          <a:p>
            <a:r>
              <a:rPr lang="en-GB" dirty="0"/>
              <a:t>3. Why Use TP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79849F-9B21-4E4B-B654-C43CBDE8C26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65669" y="1138423"/>
            <a:ext cx="9422131" cy="4806043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sz="1800" dirty="0"/>
              <a:t>TPM has many positive outcome including the following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GB" sz="2400" b="1" dirty="0"/>
              <a:t>Improve</a:t>
            </a:r>
            <a:r>
              <a:rPr lang="en-GB" sz="2400" dirty="0"/>
              <a:t> equipment </a:t>
            </a:r>
            <a:r>
              <a:rPr lang="en-GB" sz="2400" b="1" dirty="0"/>
              <a:t>performance</a:t>
            </a:r>
            <a:r>
              <a:rPr lang="en-GB" sz="2400" dirty="0"/>
              <a:t> and </a:t>
            </a:r>
            <a:r>
              <a:rPr lang="en-GB" sz="2400" b="1" dirty="0"/>
              <a:t>reliability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GB" sz="2400" b="1" dirty="0"/>
              <a:t>Minimize</a:t>
            </a:r>
            <a:r>
              <a:rPr lang="en-GB" sz="2400" dirty="0"/>
              <a:t> equipment related </a:t>
            </a:r>
            <a:r>
              <a:rPr lang="en-GB" sz="2400" b="1" dirty="0"/>
              <a:t>losses</a:t>
            </a:r>
            <a:r>
              <a:rPr lang="en-GB" sz="2400" dirty="0"/>
              <a:t> in production operations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GB" sz="2400" dirty="0"/>
              <a:t>Produce goods without reducing </a:t>
            </a:r>
            <a:r>
              <a:rPr lang="en-GB" sz="2400" b="1" dirty="0"/>
              <a:t>product quality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GB" sz="2400" dirty="0"/>
              <a:t>Reduced </a:t>
            </a:r>
            <a:r>
              <a:rPr lang="en-GB" sz="2400" b="1" dirty="0"/>
              <a:t>emergency </a:t>
            </a:r>
            <a:r>
              <a:rPr lang="en-GB" sz="2400" dirty="0"/>
              <a:t>downtime</a:t>
            </a:r>
            <a:r>
              <a:rPr lang="en-GB" sz="2400" b="1" dirty="0"/>
              <a:t>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GB" sz="2400" b="1" dirty="0"/>
              <a:t>Reduce</a:t>
            </a:r>
            <a:r>
              <a:rPr lang="en-GB" sz="2400" dirty="0"/>
              <a:t> total </a:t>
            </a:r>
            <a:r>
              <a:rPr lang="en-GB" sz="2400" b="1" dirty="0"/>
              <a:t>maintenance cost</a:t>
            </a:r>
            <a:r>
              <a:rPr lang="en-GB" sz="2400" dirty="0"/>
              <a:t> for equipment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GB" sz="2400" dirty="0"/>
              <a:t>Produce low batch quantities at the earliest possible time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GB" sz="2400" b="1" dirty="0"/>
              <a:t>Improve responsiveness </a:t>
            </a:r>
            <a:r>
              <a:rPr lang="en-GB" sz="2400" dirty="0"/>
              <a:t>to customer requirements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GB" sz="2400" dirty="0"/>
              <a:t>Increased </a:t>
            </a:r>
            <a:r>
              <a:rPr lang="en-GB" sz="2400" b="1" dirty="0"/>
              <a:t>employee skill</a:t>
            </a:r>
            <a:r>
              <a:rPr lang="en-GB" sz="2400" dirty="0"/>
              <a:t> levels and knowledge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GB" sz="2400" b="1" dirty="0"/>
              <a:t>Improve equipment life </a:t>
            </a:r>
            <a:r>
              <a:rPr lang="en-GB" sz="2400" dirty="0"/>
              <a:t>and reduce capital spend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FEA02E4-EE0B-4140-B136-BC6D7265181A}"/>
              </a:ext>
            </a:extLst>
          </p:cNvPr>
          <p:cNvGrpSpPr/>
          <p:nvPr/>
        </p:nvGrpSpPr>
        <p:grpSpPr>
          <a:xfrm>
            <a:off x="-7220" y="6193279"/>
            <a:ext cx="1289135" cy="664721"/>
            <a:chOff x="8407400" y="5845092"/>
            <a:chExt cx="1289135" cy="672559"/>
          </a:xfrm>
        </p:grpSpPr>
        <p:pic>
          <p:nvPicPr>
            <p:cNvPr id="9" name="Graphic 8" descr="List">
              <a:hlinkClick r:id="rId3" action="ppaction://hlinksldjump"/>
              <a:extLst>
                <a:ext uri="{FF2B5EF4-FFF2-40B4-BE49-F238E27FC236}">
                  <a16:creationId xmlns:a16="http://schemas.microsoft.com/office/drawing/2014/main" id="{DFEFE7F6-7108-4C74-8FE9-8CF7C1435C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041F6BE-6A98-4BF4-9470-A839820A779D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11" name="Picture 10">
            <a:hlinkClick r:id="rId6" action="ppaction://hlinksldjump"/>
            <a:extLst>
              <a:ext uri="{FF2B5EF4-FFF2-40B4-BE49-F238E27FC236}">
                <a16:creationId xmlns:a16="http://schemas.microsoft.com/office/drawing/2014/main" id="{74B09EF3-5B1E-444D-99BD-52CD5E8793F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245" y="6279236"/>
            <a:ext cx="882258" cy="50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62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V495wvsEGhmJsVn93S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JSDTypb0eKyA9.Edhu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okoLysUEGLvMvOJ802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HaMwl7S0ymRaauQe9s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vgCzaBv0CCmAgTyv5M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Mie3PTKsyECT9lb1XuJ_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aU6fWI80aUQqjunmIT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RMbmvPskSQl1KXmism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bAlU2d7E2nJ3fOslSc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Pm5QZ7lDskGs7D70K_Pp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zFpFqAxUa_N7u48vRl8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NsTsgyY0qjd7HTsAGa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NYOhzaUOxCmidBiC_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GDKFyv48EU2H1rRFURF91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CMtDcC3EOnWsXcO0Bi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O1KCZRe0.CPGh9RP56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wdABQ_WU.cDxba5K_9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.87rPlWgWEKhJJ9PTU_Z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9duIhkI0u9gUvvJ9WV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IKDtezyEmC3eUQTHUS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txCkI0zzNPfI8RF2y1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bXpR.FeUuvk4N0p9_0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uxsXa1l7GkuIIhfzdd2C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CzR2gM5USxA8ekbyjF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1zRMcz7E6QIGmS7kmf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29kLU51UisFlfEhvcC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CQsZ5tgU2SYplfxPgg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_x.fMzv06Hd3peF5UD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yYKj2wkm4qvaDYiOPWQ"/>
</p:tagLst>
</file>

<file path=ppt/theme/theme1.xml><?xml version="1.0" encoding="utf-8"?>
<a:theme xmlns:a="http://schemas.openxmlformats.org/drawingml/2006/main" name="TE Brand 2020 Theme1">
  <a:themeElements>
    <a:clrScheme name="New">
      <a:dk1>
        <a:srgbClr val="666666"/>
      </a:dk1>
      <a:lt1>
        <a:srgbClr val="FFFFFF"/>
      </a:lt1>
      <a:dk2>
        <a:srgbClr val="FFFFFF"/>
      </a:dk2>
      <a:lt2>
        <a:srgbClr val="E98300"/>
      </a:lt2>
      <a:accent1>
        <a:srgbClr val="E98300"/>
      </a:accent1>
      <a:accent2>
        <a:srgbClr val="666666"/>
      </a:accent2>
      <a:accent3>
        <a:srgbClr val="0066A1"/>
      </a:accent3>
      <a:accent4>
        <a:srgbClr val="3CB7E3"/>
      </a:accent4>
      <a:accent5>
        <a:srgbClr val="FCD350"/>
      </a:accent5>
      <a:accent6>
        <a:srgbClr val="CD202C"/>
      </a:accent6>
      <a:hlink>
        <a:srgbClr val="0066A1"/>
      </a:hlink>
      <a:folHlink>
        <a:srgbClr val="0066A1"/>
      </a:folHlink>
    </a:clrScheme>
    <a:fontScheme name="T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 Brand 2020 Theme1" id="{12899FE3-C2AC-41DA-9923-DD3E7B78135E}" vid="{32FF061F-6323-48F2-9466-41EE6710266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dbcfff2c-5cce-4cb7-b05b-d3b2e8ac169c">VMM2RVFH342Q-1513051167-54</_dlc_DocId>
    <_dlc_DocIdUrl xmlns="dbcfff2c-5cce-4cb7-b05b-d3b2e8ac169c">
      <Url>https://teams.connect.te.com/sites/TEOA/_layouts/15/DocIdRedir.aspx?ID=VMM2RVFH342Q-1513051167-54</Url>
      <Description>VMM2RVFH342Q-1513051167-54</Description>
    </_dlc_DocIdUrl>
    <u08j xmlns="36b2ca4c-9cb9-4390-9c92-9d5e0fe0f0b4">https://teams.connect.te.com/sites/TEOA/instructor%20workspace/English%20Modules/Forms/AllItems.aspx?RootFolder=%2Fsites%2FTEOA%2Finstructor%20workspace%2FEnglish%20Modules%2FTEOA%20111%20TPM&amp;FolderCTID=0x0120000233B35DFAE61A48B6339E92CA4ECB1A&amp;View=%7B004</u08j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7A1BBB0C65B294CA7DCA4A3CE828199" ma:contentTypeVersion="1" ma:contentTypeDescription="Create a new document." ma:contentTypeScope="" ma:versionID="4267dc8f915110def69a0010305e1e16">
  <xsd:schema xmlns:xsd="http://www.w3.org/2001/XMLSchema" xmlns:xs="http://www.w3.org/2001/XMLSchema" xmlns:p="http://schemas.microsoft.com/office/2006/metadata/properties" xmlns:ns2="dbcfff2c-5cce-4cb7-b05b-d3b2e8ac169c" xmlns:ns3="36b2ca4c-9cb9-4390-9c92-9d5e0fe0f0b4" targetNamespace="http://schemas.microsoft.com/office/2006/metadata/properties" ma:root="true" ma:fieldsID="3409fdb901b3d6c5cf251c5765371717" ns2:_="" ns3:_="">
    <xsd:import namespace="dbcfff2c-5cce-4cb7-b05b-d3b2e8ac169c"/>
    <xsd:import namespace="36b2ca4c-9cb9-4390-9c92-9d5e0fe0f0b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u08j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cfff2c-5cce-4cb7-b05b-d3b2e8ac169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b2ca4c-9cb9-4390-9c92-9d5e0fe0f0b4" elementFormDefault="qualified">
    <xsd:import namespace="http://schemas.microsoft.com/office/2006/documentManagement/types"/>
    <xsd:import namespace="http://schemas.microsoft.com/office/infopath/2007/PartnerControls"/>
    <xsd:element name="u08j" ma:index="11" nillable="true" ma:displayName="Link to Training Materials" ma:internalName="u08j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89342B4-7A07-4881-B7CA-75335F2B90A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8a979830-5909-4d60-b187-86785ccffa7d"/>
    <ds:schemaRef ds:uri="6185c7e3-e168-4d59-8fe5-63fb03f5c4d1"/>
    <ds:schemaRef ds:uri="http://schemas.microsoft.com/sharepoint/v3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B0C959A-E494-4BD5-A42B-E69F0C81AF1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BA3FE53-3B68-4776-9C1F-19DAF982DB4F}"/>
</file>

<file path=customXml/itemProps4.xml><?xml version="1.0" encoding="utf-8"?>
<ds:datastoreItem xmlns:ds="http://schemas.openxmlformats.org/officeDocument/2006/customXml" ds:itemID="{7DA7FBFC-D048-4EEC-A2AB-46B5BB67BDC1}"/>
</file>

<file path=docProps/app.xml><?xml version="1.0" encoding="utf-8"?>
<Properties xmlns="http://schemas.openxmlformats.org/officeDocument/2006/extended-properties" xmlns:vt="http://schemas.openxmlformats.org/officeDocument/2006/docPropsVTypes">
  <Template>TE Brand 2020 Theme1</Template>
  <TotalTime>2713</TotalTime>
  <Words>1742</Words>
  <Application>Microsoft Office PowerPoint</Application>
  <PresentationFormat>Widescreen</PresentationFormat>
  <Paragraphs>241</Paragraphs>
  <Slides>2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alibri</vt:lpstr>
      <vt:lpstr>Times New Roman</vt:lpstr>
      <vt:lpstr>Wingdings</vt:lpstr>
      <vt:lpstr>TE Brand 2020 Theme1</vt:lpstr>
      <vt:lpstr>think-cell Folie</vt:lpstr>
      <vt:lpstr>Total Productive Maintenance (TPM) Playbook  TEC-406-160019 </vt:lpstr>
      <vt:lpstr>Using the TPM Playbook – What do the Icons Mean?</vt:lpstr>
      <vt:lpstr>TEOA – Operations Management System</vt:lpstr>
      <vt:lpstr> TPM</vt:lpstr>
      <vt:lpstr>TPM Overview</vt:lpstr>
      <vt:lpstr>1. TPM Definition</vt:lpstr>
      <vt:lpstr>2. What is the Purpose of TPM</vt:lpstr>
      <vt:lpstr>2. What is the Purpose of TPM</vt:lpstr>
      <vt:lpstr>3. Why Use TPM</vt:lpstr>
      <vt:lpstr>4. How to Use TPM </vt:lpstr>
      <vt:lpstr>4. How to Use TPM </vt:lpstr>
      <vt:lpstr>4. How to Use TPM </vt:lpstr>
      <vt:lpstr>4. How to Use TPM </vt:lpstr>
      <vt:lpstr>5. TPM Best Practice Examples – Autonomous Maintenance  example</vt:lpstr>
      <vt:lpstr>5. TPM Best Practice Examples – Autonomous Maintenance  example</vt:lpstr>
      <vt:lpstr>5. TPM KPI Metrics Tracking</vt:lpstr>
      <vt:lpstr>5. TPM Best Practice Examples – Digital example</vt:lpstr>
      <vt:lpstr>6. Access to Shared Best Practices</vt:lpstr>
      <vt:lpstr>TPM - Improvement Over time</vt:lpstr>
      <vt:lpstr>Questions to Consider around TPM Deploy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PM Playbook TEC-406-160019</dc:title>
  <dc:creator>O'Neill, Dermot</dc:creator>
  <cp:lastModifiedBy>O'Neill, Dermot</cp:lastModifiedBy>
  <cp:revision>9</cp:revision>
  <cp:lastPrinted>2020-06-11T08:54:29Z</cp:lastPrinted>
  <dcterms:created xsi:type="dcterms:W3CDTF">2020-06-02T07:32:50Z</dcterms:created>
  <dcterms:modified xsi:type="dcterms:W3CDTF">2020-11-10T16:4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A1BBB0C65B294CA7DCA4A3CE828199</vt:lpwstr>
  </property>
  <property fmtid="{D5CDD505-2E9C-101B-9397-08002B2CF9AE}" pid="3" name="_dlc_DocIdItemGuid">
    <vt:lpwstr>d29b9213-0f30-404d-bfc4-f0a4aecf5e1b</vt:lpwstr>
  </property>
</Properties>
</file>